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75" r:id="rId3"/>
    <p:sldMasterId id="2147483690" r:id="rId4"/>
  </p:sldMasterIdLst>
  <p:notesMasterIdLst>
    <p:notesMasterId r:id="rId14"/>
  </p:notesMasterIdLst>
  <p:sldIdLst>
    <p:sldId id="257" r:id="rId5"/>
    <p:sldId id="260" r:id="rId6"/>
    <p:sldId id="1289" r:id="rId7"/>
    <p:sldId id="1283" r:id="rId8"/>
    <p:sldId id="1294" r:id="rId9"/>
    <p:sldId id="1292" r:id="rId10"/>
    <p:sldId id="1296" r:id="rId11"/>
    <p:sldId id="1297" r:id="rId12"/>
    <p:sldId id="1303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66BF"/>
    <a:srgbClr val="0065CC"/>
    <a:srgbClr val="B04078"/>
    <a:srgbClr val="0F6E96"/>
    <a:srgbClr val="6BAB4A"/>
    <a:srgbClr val="37377D"/>
    <a:srgbClr val="6E2C6B"/>
    <a:srgbClr val="E011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608"/>
    <p:restoredTop sz="96327"/>
  </p:normalViewPr>
  <p:slideViewPr>
    <p:cSldViewPr snapToGrid="0" snapToObjects="1">
      <p:cViewPr varScale="1">
        <p:scale>
          <a:sx n="124" d="100"/>
          <a:sy n="124" d="100"/>
        </p:scale>
        <p:origin x="608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96545E6-5BB2-4830-A228-86E85454B9B0}" type="doc">
      <dgm:prSet loTypeId="urn:microsoft.com/office/officeart/2005/8/layout/hList1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GB"/>
        </a:p>
      </dgm:t>
    </dgm:pt>
    <dgm:pt modelId="{0D8144B4-D958-4B61-AFFD-2BC7E101F633}">
      <dgm:prSet phldrT="[Text]"/>
      <dgm:spPr>
        <a:solidFill>
          <a:srgbClr val="FF6699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669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142240" tIns="81280" rIns="142240" bIns="81280" numCol="1" spcCol="1270" anchor="ctr" anchorCtr="0"/>
        <a:lstStyle/>
        <a:p>
          <a:r>
            <a:rPr lang="en-GB" b="1"/>
            <a:t>Local – Birmingham &amp; West Midlands</a:t>
          </a:r>
        </a:p>
        <a:p>
          <a:r>
            <a:rPr lang="en-GB" i="1"/>
            <a:t>Strengthening community ties</a:t>
          </a:r>
        </a:p>
      </dgm:t>
    </dgm:pt>
    <dgm:pt modelId="{E30C84E2-24C4-498B-9E7D-5E79742BD2CF}" type="parTrans" cxnId="{CB5F6528-D580-4651-87BA-CCBB8001DB37}">
      <dgm:prSet/>
      <dgm:spPr/>
      <dgm:t>
        <a:bodyPr/>
        <a:lstStyle/>
        <a:p>
          <a:endParaRPr lang="en-GB"/>
        </a:p>
      </dgm:t>
    </dgm:pt>
    <dgm:pt modelId="{EA5BD554-E3E9-485F-ACFC-C0CEF9AE048D}" type="sibTrans" cxnId="{CB5F6528-D580-4651-87BA-CCBB8001DB37}">
      <dgm:prSet/>
      <dgm:spPr/>
      <dgm:t>
        <a:bodyPr/>
        <a:lstStyle/>
        <a:p>
          <a:endParaRPr lang="en-GB"/>
        </a:p>
      </dgm:t>
    </dgm:pt>
    <dgm:pt modelId="{7FDAE1B0-4C47-4929-9A3A-F2DE7266B735}">
      <dgm:prSet phldrT="[Text]"/>
      <dgm:spPr/>
      <dgm:t>
        <a:bodyPr/>
        <a:lstStyle/>
        <a:p>
          <a:r>
            <a:rPr lang="en-GB"/>
            <a:t>Local Organ Donation Committees</a:t>
          </a:r>
        </a:p>
      </dgm:t>
    </dgm:pt>
    <dgm:pt modelId="{501425BB-01B9-4104-A6D4-E87ADE19156E}" type="parTrans" cxnId="{79A7498F-6865-423D-9567-5ECC16DA2888}">
      <dgm:prSet/>
      <dgm:spPr/>
      <dgm:t>
        <a:bodyPr/>
        <a:lstStyle/>
        <a:p>
          <a:endParaRPr lang="en-GB"/>
        </a:p>
      </dgm:t>
    </dgm:pt>
    <dgm:pt modelId="{C81D97D4-F272-4E4C-A7BF-A7D858BF5483}" type="sibTrans" cxnId="{79A7498F-6865-423D-9567-5ECC16DA2888}">
      <dgm:prSet/>
      <dgm:spPr/>
      <dgm:t>
        <a:bodyPr/>
        <a:lstStyle/>
        <a:p>
          <a:endParaRPr lang="en-GB"/>
        </a:p>
      </dgm:t>
    </dgm:pt>
    <dgm:pt modelId="{032F9C8C-E039-4CE4-8B8F-05E937A3160B}">
      <dgm:prSet phldrT="[Text]"/>
      <dgm:spPr/>
      <dgm:t>
        <a:bodyPr/>
        <a:lstStyle/>
        <a:p>
          <a:r>
            <a:rPr lang="en-GB"/>
            <a:t>Birmingham Community Engagement Leads</a:t>
          </a:r>
        </a:p>
      </dgm:t>
    </dgm:pt>
    <dgm:pt modelId="{DF5A8063-FA69-41F8-9881-8BF624683BB2}" type="parTrans" cxnId="{E2864EED-9C47-4339-A18B-BEA346D3F880}">
      <dgm:prSet/>
      <dgm:spPr/>
      <dgm:t>
        <a:bodyPr/>
        <a:lstStyle/>
        <a:p>
          <a:endParaRPr lang="en-GB"/>
        </a:p>
      </dgm:t>
    </dgm:pt>
    <dgm:pt modelId="{6059164E-E9FE-42DF-8FF0-BF1CE5ACFE16}" type="sibTrans" cxnId="{E2864EED-9C47-4339-A18B-BEA346D3F880}">
      <dgm:prSet/>
      <dgm:spPr/>
      <dgm:t>
        <a:bodyPr/>
        <a:lstStyle/>
        <a:p>
          <a:endParaRPr lang="en-GB"/>
        </a:p>
      </dgm:t>
    </dgm:pt>
    <dgm:pt modelId="{10A21DAF-B43B-4BF4-9EA5-DA016CABBC59}">
      <dgm:prSet phldrT="[Text]"/>
      <dgm:spPr/>
      <dgm:t>
        <a:bodyPr/>
        <a:lstStyle/>
        <a:p>
          <a:r>
            <a:rPr lang="en-GB" b="1"/>
            <a:t>UK</a:t>
          </a:r>
        </a:p>
        <a:p>
          <a:r>
            <a:rPr lang="en-GB" b="0" i="1"/>
            <a:t>Making organ donation engaging &amp; accessible across the four nations</a:t>
          </a:r>
        </a:p>
      </dgm:t>
    </dgm:pt>
    <dgm:pt modelId="{449B031C-8B31-4B7A-982E-58B48C8FE640}" type="parTrans" cxnId="{CF5B4020-A7D3-4D39-8618-8064D97C3E35}">
      <dgm:prSet/>
      <dgm:spPr/>
      <dgm:t>
        <a:bodyPr/>
        <a:lstStyle/>
        <a:p>
          <a:endParaRPr lang="en-GB"/>
        </a:p>
      </dgm:t>
    </dgm:pt>
    <dgm:pt modelId="{EC7E9947-050B-40D0-B1B8-B9F64C234D18}" type="sibTrans" cxnId="{CF5B4020-A7D3-4D39-8618-8064D97C3E35}">
      <dgm:prSet/>
      <dgm:spPr/>
      <dgm:t>
        <a:bodyPr/>
        <a:lstStyle/>
        <a:p>
          <a:endParaRPr lang="en-GB"/>
        </a:p>
      </dgm:t>
    </dgm:pt>
    <dgm:pt modelId="{7682F073-8CE9-45D8-A52F-328F5872EB8D}">
      <dgm:prSet phldrT="[Text]"/>
      <dgm:spPr/>
      <dgm:t>
        <a:bodyPr/>
        <a:lstStyle/>
        <a:p>
          <a:r>
            <a:rPr lang="en-GB"/>
            <a:t>PR photo launch</a:t>
          </a:r>
        </a:p>
      </dgm:t>
    </dgm:pt>
    <dgm:pt modelId="{6FCFBAE7-39BB-423A-A18D-6DF9F148FD36}" type="parTrans" cxnId="{3469B02D-04E6-46D6-BFAC-E8C4FAE537D5}">
      <dgm:prSet/>
      <dgm:spPr/>
      <dgm:t>
        <a:bodyPr/>
        <a:lstStyle/>
        <a:p>
          <a:endParaRPr lang="en-GB"/>
        </a:p>
      </dgm:t>
    </dgm:pt>
    <dgm:pt modelId="{4B08B5A9-8FBB-4276-B7BD-30D146254FEC}" type="sibTrans" cxnId="{3469B02D-04E6-46D6-BFAC-E8C4FAE537D5}">
      <dgm:prSet/>
      <dgm:spPr/>
      <dgm:t>
        <a:bodyPr/>
        <a:lstStyle/>
        <a:p>
          <a:endParaRPr lang="en-GB"/>
        </a:p>
      </dgm:t>
    </dgm:pt>
    <dgm:pt modelId="{FF661130-1D6C-45D7-92FF-0B3070547913}">
      <dgm:prSet phldrT="[Text]"/>
      <dgm:spPr/>
      <dgm:t>
        <a:bodyPr/>
        <a:lstStyle/>
        <a:p>
          <a:r>
            <a:rPr lang="en-GB"/>
            <a:t>Celebrity athlete advocates</a:t>
          </a:r>
        </a:p>
      </dgm:t>
    </dgm:pt>
    <dgm:pt modelId="{23B813BE-289C-4043-9296-0739114E2F23}" type="parTrans" cxnId="{646E28EE-78D5-4F36-B14E-26B26A5AD3A9}">
      <dgm:prSet/>
      <dgm:spPr/>
      <dgm:t>
        <a:bodyPr/>
        <a:lstStyle/>
        <a:p>
          <a:endParaRPr lang="en-GB"/>
        </a:p>
      </dgm:t>
    </dgm:pt>
    <dgm:pt modelId="{93C7C597-AC6F-4B5B-8DF4-E3FF0B9E3111}" type="sibTrans" cxnId="{646E28EE-78D5-4F36-B14E-26B26A5AD3A9}">
      <dgm:prSet/>
      <dgm:spPr/>
      <dgm:t>
        <a:bodyPr/>
        <a:lstStyle/>
        <a:p>
          <a:endParaRPr lang="en-GB"/>
        </a:p>
      </dgm:t>
    </dgm:pt>
    <dgm:pt modelId="{B81E3E14-0199-4BC0-8AC5-CFA67B279BC4}">
      <dgm:prSet phldrT="[Text]"/>
      <dgm:spPr/>
      <dgm:t>
        <a:bodyPr/>
        <a:lstStyle/>
        <a:p>
          <a:r>
            <a:rPr lang="en-GB" b="1"/>
            <a:t>Commonwealth</a:t>
          </a:r>
        </a:p>
        <a:p>
          <a:r>
            <a:rPr lang="en-GB" b="0" i="1"/>
            <a:t>Maximising social media support</a:t>
          </a:r>
        </a:p>
      </dgm:t>
    </dgm:pt>
    <dgm:pt modelId="{50D37EDB-8B3E-4EB4-9D45-D6BCD94FF9FD}" type="parTrans" cxnId="{2C8F4DB5-9D8A-40C4-B625-9008CB9E8450}">
      <dgm:prSet/>
      <dgm:spPr/>
      <dgm:t>
        <a:bodyPr/>
        <a:lstStyle/>
        <a:p>
          <a:endParaRPr lang="en-GB"/>
        </a:p>
      </dgm:t>
    </dgm:pt>
    <dgm:pt modelId="{99B4D367-0180-438B-A072-4A9A3D81183E}" type="sibTrans" cxnId="{2C8F4DB5-9D8A-40C4-B625-9008CB9E8450}">
      <dgm:prSet/>
      <dgm:spPr/>
      <dgm:t>
        <a:bodyPr/>
        <a:lstStyle/>
        <a:p>
          <a:endParaRPr lang="en-GB"/>
        </a:p>
      </dgm:t>
    </dgm:pt>
    <dgm:pt modelId="{787EEAAF-7F4E-4FFA-9379-4555BA87E233}">
      <dgm:prSet phldrT="[Text]"/>
      <dgm:spPr/>
      <dgm:t>
        <a:bodyPr/>
        <a:lstStyle/>
        <a:p>
          <a:r>
            <a:rPr lang="en-GB"/>
            <a:t>United social media approach to drive advocacy and talkability</a:t>
          </a:r>
        </a:p>
      </dgm:t>
    </dgm:pt>
    <dgm:pt modelId="{60EF7B16-4359-4028-BBEA-A47FB0980B27}" type="parTrans" cxnId="{E77CC9FF-6277-4BAF-A3FB-379A26960BF2}">
      <dgm:prSet/>
      <dgm:spPr/>
      <dgm:t>
        <a:bodyPr/>
        <a:lstStyle/>
        <a:p>
          <a:endParaRPr lang="en-GB"/>
        </a:p>
      </dgm:t>
    </dgm:pt>
    <dgm:pt modelId="{A7884E81-EFCF-4748-BD55-ABD4DB7514E9}" type="sibTrans" cxnId="{E77CC9FF-6277-4BAF-A3FB-379A26960BF2}">
      <dgm:prSet/>
      <dgm:spPr/>
      <dgm:t>
        <a:bodyPr/>
        <a:lstStyle/>
        <a:p>
          <a:endParaRPr lang="en-GB"/>
        </a:p>
      </dgm:t>
    </dgm:pt>
    <dgm:pt modelId="{3B542B44-74FF-49AB-92D8-B9618B0BE90A}">
      <dgm:prSet phldrT="[Text]"/>
      <dgm:spPr/>
      <dgm:t>
        <a:bodyPr/>
        <a:lstStyle/>
        <a:p>
          <a:r>
            <a:rPr lang="en-GB"/>
            <a:t>Local PR</a:t>
          </a:r>
        </a:p>
      </dgm:t>
    </dgm:pt>
    <dgm:pt modelId="{FFFC119F-C1F8-4ADE-B7CE-D3E23BD3BB91}" type="parTrans" cxnId="{F141B651-567B-47E5-B23E-6C47131A2B67}">
      <dgm:prSet/>
      <dgm:spPr/>
      <dgm:t>
        <a:bodyPr/>
        <a:lstStyle/>
        <a:p>
          <a:endParaRPr lang="en-GB"/>
        </a:p>
      </dgm:t>
    </dgm:pt>
    <dgm:pt modelId="{468CC4F7-A82E-41ED-9464-190DEBEAA1E9}" type="sibTrans" cxnId="{F141B651-567B-47E5-B23E-6C47131A2B67}">
      <dgm:prSet/>
      <dgm:spPr/>
      <dgm:t>
        <a:bodyPr/>
        <a:lstStyle/>
        <a:p>
          <a:endParaRPr lang="en-GB"/>
        </a:p>
      </dgm:t>
    </dgm:pt>
    <dgm:pt modelId="{D205824D-CB74-4204-AE4C-53A913A4AE88}">
      <dgm:prSet phldrT="[Text]"/>
      <dgm:spPr/>
      <dgm:t>
        <a:bodyPr/>
        <a:lstStyle/>
        <a:p>
          <a:r>
            <a:rPr lang="en-GB"/>
            <a:t>Event opportunities</a:t>
          </a:r>
        </a:p>
      </dgm:t>
    </dgm:pt>
    <dgm:pt modelId="{11E832F8-79DA-4121-A232-468E6D0E76B9}" type="parTrans" cxnId="{1D00C9F0-35A6-47DA-9846-8F386633C3E1}">
      <dgm:prSet/>
      <dgm:spPr/>
      <dgm:t>
        <a:bodyPr/>
        <a:lstStyle/>
        <a:p>
          <a:endParaRPr lang="en-GB"/>
        </a:p>
      </dgm:t>
    </dgm:pt>
    <dgm:pt modelId="{3CB816A9-B5BC-41C4-8C13-0D10A028A306}" type="sibTrans" cxnId="{1D00C9F0-35A6-47DA-9846-8F386633C3E1}">
      <dgm:prSet/>
      <dgm:spPr/>
      <dgm:t>
        <a:bodyPr/>
        <a:lstStyle/>
        <a:p>
          <a:endParaRPr lang="en-GB"/>
        </a:p>
      </dgm:t>
    </dgm:pt>
    <dgm:pt modelId="{7E710AD3-125A-475C-B3CA-4CBBD5A177BD}">
      <dgm:prSet phldrT="[Text]"/>
      <dgm:spPr/>
      <dgm:t>
        <a:bodyPr/>
        <a:lstStyle/>
        <a:p>
          <a:r>
            <a:rPr lang="en-GB"/>
            <a:t>Schools engagement</a:t>
          </a:r>
        </a:p>
      </dgm:t>
    </dgm:pt>
    <dgm:pt modelId="{2E051BCE-A1C4-42E5-86FD-09884DA34FBB}" type="parTrans" cxnId="{649C4A2B-A926-40BE-A527-50B4A9E0DDDB}">
      <dgm:prSet/>
      <dgm:spPr/>
      <dgm:t>
        <a:bodyPr/>
        <a:lstStyle/>
        <a:p>
          <a:endParaRPr lang="en-GB"/>
        </a:p>
      </dgm:t>
    </dgm:pt>
    <dgm:pt modelId="{BB1543D5-677F-48B2-A933-CF4BED836F7C}" type="sibTrans" cxnId="{649C4A2B-A926-40BE-A527-50B4A9E0DDDB}">
      <dgm:prSet/>
      <dgm:spPr/>
      <dgm:t>
        <a:bodyPr/>
        <a:lstStyle/>
        <a:p>
          <a:endParaRPr lang="en-GB"/>
        </a:p>
      </dgm:t>
    </dgm:pt>
    <dgm:pt modelId="{AFB5922B-EAA3-4107-8B65-40327143392E}">
      <dgm:prSet phldrT="[Text]"/>
      <dgm:spPr/>
      <dgm:t>
        <a:bodyPr/>
        <a:lstStyle/>
        <a:p>
          <a:r>
            <a:rPr lang="en-GB"/>
            <a:t>Community Investment Scheme partnering with Commonwealth nations</a:t>
          </a:r>
        </a:p>
      </dgm:t>
    </dgm:pt>
    <dgm:pt modelId="{548184D4-0744-460C-B30A-B5395E314AB5}" type="parTrans" cxnId="{0BB68EFC-1F92-4CBD-AB36-744223BB998A}">
      <dgm:prSet/>
      <dgm:spPr/>
      <dgm:t>
        <a:bodyPr/>
        <a:lstStyle/>
        <a:p>
          <a:endParaRPr lang="en-GB"/>
        </a:p>
      </dgm:t>
    </dgm:pt>
    <dgm:pt modelId="{E7D92CE0-20FF-4871-A8A3-A3947D957B88}" type="sibTrans" cxnId="{0BB68EFC-1F92-4CBD-AB36-744223BB998A}">
      <dgm:prSet/>
      <dgm:spPr/>
      <dgm:t>
        <a:bodyPr/>
        <a:lstStyle/>
        <a:p>
          <a:endParaRPr lang="en-GB"/>
        </a:p>
      </dgm:t>
    </dgm:pt>
    <dgm:pt modelId="{96915B1B-7A94-44A7-9E85-41E307A90AEC}">
      <dgm:prSet phldrT="[Text]"/>
      <dgm:spPr/>
      <dgm:t>
        <a:bodyPr/>
        <a:lstStyle/>
        <a:p>
          <a:r>
            <a:rPr lang="en-GB"/>
            <a:t>Social toolkit / video</a:t>
          </a:r>
        </a:p>
      </dgm:t>
    </dgm:pt>
    <dgm:pt modelId="{15301AB5-A7BC-490F-92AC-445830A65059}" type="parTrans" cxnId="{E2862BDA-75B5-4784-AAFC-16EECD0E9741}">
      <dgm:prSet/>
      <dgm:spPr/>
      <dgm:t>
        <a:bodyPr/>
        <a:lstStyle/>
        <a:p>
          <a:endParaRPr lang="en-GB"/>
        </a:p>
      </dgm:t>
    </dgm:pt>
    <dgm:pt modelId="{AF4B604D-992C-4C5B-BB28-F01FAAF4E157}" type="sibTrans" cxnId="{E2862BDA-75B5-4784-AAFC-16EECD0E9741}">
      <dgm:prSet/>
      <dgm:spPr/>
      <dgm:t>
        <a:bodyPr/>
        <a:lstStyle/>
        <a:p>
          <a:endParaRPr lang="en-GB"/>
        </a:p>
      </dgm:t>
    </dgm:pt>
    <dgm:pt modelId="{C3792107-962B-4644-B703-F613D106AF4C}" type="pres">
      <dgm:prSet presAssocID="{B96545E6-5BB2-4830-A228-86E85454B9B0}" presName="Name0" presStyleCnt="0">
        <dgm:presLayoutVars>
          <dgm:dir/>
          <dgm:animLvl val="lvl"/>
          <dgm:resizeHandles val="exact"/>
        </dgm:presLayoutVars>
      </dgm:prSet>
      <dgm:spPr/>
    </dgm:pt>
    <dgm:pt modelId="{5522105E-FEEC-4EE4-8213-7355434F3CFE}" type="pres">
      <dgm:prSet presAssocID="{0D8144B4-D958-4B61-AFFD-2BC7E101F633}" presName="composite" presStyleCnt="0"/>
      <dgm:spPr/>
    </dgm:pt>
    <dgm:pt modelId="{B445AF5A-0736-4B7B-A71A-66E4F66305F1}" type="pres">
      <dgm:prSet presAssocID="{0D8144B4-D958-4B61-AFFD-2BC7E101F633}" presName="parTx" presStyleLbl="alignNode1" presStyleIdx="0" presStyleCnt="3">
        <dgm:presLayoutVars>
          <dgm:chMax val="0"/>
          <dgm:chPref val="0"/>
          <dgm:bulletEnabled val="1"/>
        </dgm:presLayoutVars>
      </dgm:prSet>
      <dgm:spPr>
        <a:xfrm>
          <a:off x="3429" y="441426"/>
          <a:ext cx="3343274" cy="1337309"/>
        </a:xfrm>
        <a:prstGeom prst="rect">
          <a:avLst/>
        </a:prstGeom>
      </dgm:spPr>
    </dgm:pt>
    <dgm:pt modelId="{4A0F98C2-44DF-4F5E-9236-3CD76899D165}" type="pres">
      <dgm:prSet presAssocID="{0D8144B4-D958-4B61-AFFD-2BC7E101F633}" presName="desTx" presStyleLbl="alignAccFollowNode1" presStyleIdx="0" presStyleCnt="3">
        <dgm:presLayoutVars>
          <dgm:bulletEnabled val="1"/>
        </dgm:presLayoutVars>
      </dgm:prSet>
      <dgm:spPr/>
    </dgm:pt>
    <dgm:pt modelId="{6C04C3DD-FA82-4436-8A46-23C95CEDB207}" type="pres">
      <dgm:prSet presAssocID="{EA5BD554-E3E9-485F-ACFC-C0CEF9AE048D}" presName="space" presStyleCnt="0"/>
      <dgm:spPr/>
    </dgm:pt>
    <dgm:pt modelId="{32FFA4E9-4D40-44D1-94A9-8C88E1AD279E}" type="pres">
      <dgm:prSet presAssocID="{10A21DAF-B43B-4BF4-9EA5-DA016CABBC59}" presName="composite" presStyleCnt="0"/>
      <dgm:spPr/>
    </dgm:pt>
    <dgm:pt modelId="{EA577E38-4A25-49EC-BF57-D6F570727AEC}" type="pres">
      <dgm:prSet presAssocID="{10A21DAF-B43B-4BF4-9EA5-DA016CABBC59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04837767-EBDE-4E2C-9DA8-E147D824625D}" type="pres">
      <dgm:prSet presAssocID="{10A21DAF-B43B-4BF4-9EA5-DA016CABBC59}" presName="desTx" presStyleLbl="alignAccFollowNode1" presStyleIdx="1" presStyleCnt="3">
        <dgm:presLayoutVars>
          <dgm:bulletEnabled val="1"/>
        </dgm:presLayoutVars>
      </dgm:prSet>
      <dgm:spPr/>
    </dgm:pt>
    <dgm:pt modelId="{A195F242-F6D5-43C9-8A97-1AD20FE06C5F}" type="pres">
      <dgm:prSet presAssocID="{EC7E9947-050B-40D0-B1B8-B9F64C234D18}" presName="space" presStyleCnt="0"/>
      <dgm:spPr/>
    </dgm:pt>
    <dgm:pt modelId="{5E0C38F0-DE5A-439A-AC9F-3FAF9FE98771}" type="pres">
      <dgm:prSet presAssocID="{B81E3E14-0199-4BC0-8AC5-CFA67B279BC4}" presName="composite" presStyleCnt="0"/>
      <dgm:spPr/>
    </dgm:pt>
    <dgm:pt modelId="{5ADA942B-8D31-4F58-B69A-EC8F5424FD65}" type="pres">
      <dgm:prSet presAssocID="{B81E3E14-0199-4BC0-8AC5-CFA67B279BC4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E65F844F-528F-4D17-8C0A-ACBFCCD077B8}" type="pres">
      <dgm:prSet presAssocID="{B81E3E14-0199-4BC0-8AC5-CFA67B279BC4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BC16870E-266C-4169-89E2-C30313817052}" type="presOf" srcId="{B81E3E14-0199-4BC0-8AC5-CFA67B279BC4}" destId="{5ADA942B-8D31-4F58-B69A-EC8F5424FD65}" srcOrd="0" destOrd="0" presId="urn:microsoft.com/office/officeart/2005/8/layout/hList1"/>
    <dgm:cxn modelId="{A762B811-012E-46D1-83F1-FC10312A20EC}" type="presOf" srcId="{787EEAAF-7F4E-4FFA-9379-4555BA87E233}" destId="{E65F844F-528F-4D17-8C0A-ACBFCCD077B8}" srcOrd="0" destOrd="0" presId="urn:microsoft.com/office/officeart/2005/8/layout/hList1"/>
    <dgm:cxn modelId="{A1858016-72F9-468F-A5BD-39B24154FFD0}" type="presOf" srcId="{AFB5922B-EAA3-4107-8B65-40327143392E}" destId="{04837767-EBDE-4E2C-9DA8-E147D824625D}" srcOrd="0" destOrd="2" presId="urn:microsoft.com/office/officeart/2005/8/layout/hList1"/>
    <dgm:cxn modelId="{CF5B4020-A7D3-4D39-8618-8064D97C3E35}" srcId="{B96545E6-5BB2-4830-A228-86E85454B9B0}" destId="{10A21DAF-B43B-4BF4-9EA5-DA016CABBC59}" srcOrd="1" destOrd="0" parTransId="{449B031C-8B31-4B7A-982E-58B48C8FE640}" sibTransId="{EC7E9947-050B-40D0-B1B8-B9F64C234D18}"/>
    <dgm:cxn modelId="{CB5F6528-D580-4651-87BA-CCBB8001DB37}" srcId="{B96545E6-5BB2-4830-A228-86E85454B9B0}" destId="{0D8144B4-D958-4B61-AFFD-2BC7E101F633}" srcOrd="0" destOrd="0" parTransId="{E30C84E2-24C4-498B-9E7D-5E79742BD2CF}" sibTransId="{EA5BD554-E3E9-485F-ACFC-C0CEF9AE048D}"/>
    <dgm:cxn modelId="{649C4A2B-A926-40BE-A527-50B4A9E0DDDB}" srcId="{0D8144B4-D958-4B61-AFFD-2BC7E101F633}" destId="{7E710AD3-125A-475C-B3CA-4CBBD5A177BD}" srcOrd="4" destOrd="0" parTransId="{2E051BCE-A1C4-42E5-86FD-09884DA34FBB}" sibTransId="{BB1543D5-677F-48B2-A933-CF4BED836F7C}"/>
    <dgm:cxn modelId="{D885532D-82E6-41C2-A139-EC3CFFF0ED95}" type="presOf" srcId="{B96545E6-5BB2-4830-A228-86E85454B9B0}" destId="{C3792107-962B-4644-B703-F613D106AF4C}" srcOrd="0" destOrd="0" presId="urn:microsoft.com/office/officeart/2005/8/layout/hList1"/>
    <dgm:cxn modelId="{3469B02D-04E6-46D6-BFAC-E8C4FAE537D5}" srcId="{10A21DAF-B43B-4BF4-9EA5-DA016CABBC59}" destId="{7682F073-8CE9-45D8-A52F-328F5872EB8D}" srcOrd="0" destOrd="0" parTransId="{6FCFBAE7-39BB-423A-A18D-6DF9F148FD36}" sibTransId="{4B08B5A9-8FBB-4276-B7BD-30D146254FEC}"/>
    <dgm:cxn modelId="{1C44CB38-A00D-4667-9B79-89F4E3A4745E}" type="presOf" srcId="{FF661130-1D6C-45D7-92FF-0B3070547913}" destId="{04837767-EBDE-4E2C-9DA8-E147D824625D}" srcOrd="0" destOrd="1" presId="urn:microsoft.com/office/officeart/2005/8/layout/hList1"/>
    <dgm:cxn modelId="{0C8F5E3A-0241-4097-A867-52FB3028E03A}" type="presOf" srcId="{96915B1B-7A94-44A7-9E85-41E307A90AEC}" destId="{E65F844F-528F-4D17-8C0A-ACBFCCD077B8}" srcOrd="0" destOrd="1" presId="urn:microsoft.com/office/officeart/2005/8/layout/hList1"/>
    <dgm:cxn modelId="{F141B651-567B-47E5-B23E-6C47131A2B67}" srcId="{0D8144B4-D958-4B61-AFFD-2BC7E101F633}" destId="{3B542B44-74FF-49AB-92D8-B9618B0BE90A}" srcOrd="2" destOrd="0" parTransId="{FFFC119F-C1F8-4ADE-B7CE-D3E23BD3BB91}" sibTransId="{468CC4F7-A82E-41ED-9464-190DEBEAA1E9}"/>
    <dgm:cxn modelId="{3B7C3459-E49E-4A3A-93A2-0AF32DCD09E5}" type="presOf" srcId="{0D8144B4-D958-4B61-AFFD-2BC7E101F633}" destId="{B445AF5A-0736-4B7B-A71A-66E4F66305F1}" srcOrd="0" destOrd="0" presId="urn:microsoft.com/office/officeart/2005/8/layout/hList1"/>
    <dgm:cxn modelId="{A174EE63-F57F-4E8B-9B60-B99EFD0CB889}" type="presOf" srcId="{D205824D-CB74-4204-AE4C-53A913A4AE88}" destId="{4A0F98C2-44DF-4F5E-9236-3CD76899D165}" srcOrd="0" destOrd="3" presId="urn:microsoft.com/office/officeart/2005/8/layout/hList1"/>
    <dgm:cxn modelId="{015B7881-0022-4C73-B288-F1B85B5ADA05}" type="presOf" srcId="{032F9C8C-E039-4CE4-8B8F-05E937A3160B}" destId="{4A0F98C2-44DF-4F5E-9236-3CD76899D165}" srcOrd="0" destOrd="1" presId="urn:microsoft.com/office/officeart/2005/8/layout/hList1"/>
    <dgm:cxn modelId="{79A7498F-6865-423D-9567-5ECC16DA2888}" srcId="{0D8144B4-D958-4B61-AFFD-2BC7E101F633}" destId="{7FDAE1B0-4C47-4929-9A3A-F2DE7266B735}" srcOrd="0" destOrd="0" parTransId="{501425BB-01B9-4104-A6D4-E87ADE19156E}" sibTransId="{C81D97D4-F272-4E4C-A7BF-A7D858BF5483}"/>
    <dgm:cxn modelId="{FE272F98-8707-43FA-A1DA-1546952B8330}" type="presOf" srcId="{10A21DAF-B43B-4BF4-9EA5-DA016CABBC59}" destId="{EA577E38-4A25-49EC-BF57-D6F570727AEC}" srcOrd="0" destOrd="0" presId="urn:microsoft.com/office/officeart/2005/8/layout/hList1"/>
    <dgm:cxn modelId="{2C8F4DB5-9D8A-40C4-B625-9008CB9E8450}" srcId="{B96545E6-5BB2-4830-A228-86E85454B9B0}" destId="{B81E3E14-0199-4BC0-8AC5-CFA67B279BC4}" srcOrd="2" destOrd="0" parTransId="{50D37EDB-8B3E-4EB4-9D45-D6BCD94FF9FD}" sibTransId="{99B4D367-0180-438B-A072-4A9A3D81183E}"/>
    <dgm:cxn modelId="{9E1B53C4-20B2-4CE2-84B7-A67078A0D628}" type="presOf" srcId="{7FDAE1B0-4C47-4929-9A3A-F2DE7266B735}" destId="{4A0F98C2-44DF-4F5E-9236-3CD76899D165}" srcOrd="0" destOrd="0" presId="urn:microsoft.com/office/officeart/2005/8/layout/hList1"/>
    <dgm:cxn modelId="{8AB5E7C4-EF87-4056-96A7-FD038940EAE6}" type="presOf" srcId="{3B542B44-74FF-49AB-92D8-B9618B0BE90A}" destId="{4A0F98C2-44DF-4F5E-9236-3CD76899D165}" srcOrd="0" destOrd="2" presId="urn:microsoft.com/office/officeart/2005/8/layout/hList1"/>
    <dgm:cxn modelId="{E2862BDA-75B5-4784-AAFC-16EECD0E9741}" srcId="{B81E3E14-0199-4BC0-8AC5-CFA67B279BC4}" destId="{96915B1B-7A94-44A7-9E85-41E307A90AEC}" srcOrd="1" destOrd="0" parTransId="{15301AB5-A7BC-490F-92AC-445830A65059}" sibTransId="{AF4B604D-992C-4C5B-BB28-F01FAAF4E157}"/>
    <dgm:cxn modelId="{D6A8F8EB-CB4F-4B07-9145-F0B09B7D487C}" type="presOf" srcId="{7E710AD3-125A-475C-B3CA-4CBBD5A177BD}" destId="{4A0F98C2-44DF-4F5E-9236-3CD76899D165}" srcOrd="0" destOrd="4" presId="urn:microsoft.com/office/officeart/2005/8/layout/hList1"/>
    <dgm:cxn modelId="{E2864EED-9C47-4339-A18B-BEA346D3F880}" srcId="{0D8144B4-D958-4B61-AFFD-2BC7E101F633}" destId="{032F9C8C-E039-4CE4-8B8F-05E937A3160B}" srcOrd="1" destOrd="0" parTransId="{DF5A8063-FA69-41F8-9881-8BF624683BB2}" sibTransId="{6059164E-E9FE-42DF-8FF0-BF1CE5ACFE16}"/>
    <dgm:cxn modelId="{646E28EE-78D5-4F36-B14E-26B26A5AD3A9}" srcId="{10A21DAF-B43B-4BF4-9EA5-DA016CABBC59}" destId="{FF661130-1D6C-45D7-92FF-0B3070547913}" srcOrd="1" destOrd="0" parTransId="{23B813BE-289C-4043-9296-0739114E2F23}" sibTransId="{93C7C597-AC6F-4B5B-8DF4-E3FF0B9E3111}"/>
    <dgm:cxn modelId="{1D00C9F0-35A6-47DA-9846-8F386633C3E1}" srcId="{0D8144B4-D958-4B61-AFFD-2BC7E101F633}" destId="{D205824D-CB74-4204-AE4C-53A913A4AE88}" srcOrd="3" destOrd="0" parTransId="{11E832F8-79DA-4121-A232-468E6D0E76B9}" sibTransId="{3CB816A9-B5BC-41C4-8C13-0D10A028A306}"/>
    <dgm:cxn modelId="{7D8EB4F2-BD6D-4E55-959E-0B915F770E46}" type="presOf" srcId="{7682F073-8CE9-45D8-A52F-328F5872EB8D}" destId="{04837767-EBDE-4E2C-9DA8-E147D824625D}" srcOrd="0" destOrd="0" presId="urn:microsoft.com/office/officeart/2005/8/layout/hList1"/>
    <dgm:cxn modelId="{0BB68EFC-1F92-4CBD-AB36-744223BB998A}" srcId="{10A21DAF-B43B-4BF4-9EA5-DA016CABBC59}" destId="{AFB5922B-EAA3-4107-8B65-40327143392E}" srcOrd="2" destOrd="0" parTransId="{548184D4-0744-460C-B30A-B5395E314AB5}" sibTransId="{E7D92CE0-20FF-4871-A8A3-A3947D957B88}"/>
    <dgm:cxn modelId="{E77CC9FF-6277-4BAF-A3FB-379A26960BF2}" srcId="{B81E3E14-0199-4BC0-8AC5-CFA67B279BC4}" destId="{787EEAAF-7F4E-4FFA-9379-4555BA87E233}" srcOrd="0" destOrd="0" parTransId="{60EF7B16-4359-4028-BBEA-A47FB0980B27}" sibTransId="{A7884E81-EFCF-4748-BD55-ABD4DB7514E9}"/>
    <dgm:cxn modelId="{187F197C-0883-4476-9016-6622D38E5BD5}" type="presParOf" srcId="{C3792107-962B-4644-B703-F613D106AF4C}" destId="{5522105E-FEEC-4EE4-8213-7355434F3CFE}" srcOrd="0" destOrd="0" presId="urn:microsoft.com/office/officeart/2005/8/layout/hList1"/>
    <dgm:cxn modelId="{0804F286-AAE6-44CE-819A-5EEA63DB0956}" type="presParOf" srcId="{5522105E-FEEC-4EE4-8213-7355434F3CFE}" destId="{B445AF5A-0736-4B7B-A71A-66E4F66305F1}" srcOrd="0" destOrd="0" presId="urn:microsoft.com/office/officeart/2005/8/layout/hList1"/>
    <dgm:cxn modelId="{6A5CC762-7946-4CF3-9C4C-4E2C5EBB5751}" type="presParOf" srcId="{5522105E-FEEC-4EE4-8213-7355434F3CFE}" destId="{4A0F98C2-44DF-4F5E-9236-3CD76899D165}" srcOrd="1" destOrd="0" presId="urn:microsoft.com/office/officeart/2005/8/layout/hList1"/>
    <dgm:cxn modelId="{A926199D-5F83-47EC-8403-AA61C60AD9D7}" type="presParOf" srcId="{C3792107-962B-4644-B703-F613D106AF4C}" destId="{6C04C3DD-FA82-4436-8A46-23C95CEDB207}" srcOrd="1" destOrd="0" presId="urn:microsoft.com/office/officeart/2005/8/layout/hList1"/>
    <dgm:cxn modelId="{9FA84EBE-CB1E-42D7-A248-E50CA1DEF0F9}" type="presParOf" srcId="{C3792107-962B-4644-B703-F613D106AF4C}" destId="{32FFA4E9-4D40-44D1-94A9-8C88E1AD279E}" srcOrd="2" destOrd="0" presId="urn:microsoft.com/office/officeart/2005/8/layout/hList1"/>
    <dgm:cxn modelId="{87071F5D-C7F7-4F6E-84D0-23F846B724EB}" type="presParOf" srcId="{32FFA4E9-4D40-44D1-94A9-8C88E1AD279E}" destId="{EA577E38-4A25-49EC-BF57-D6F570727AEC}" srcOrd="0" destOrd="0" presId="urn:microsoft.com/office/officeart/2005/8/layout/hList1"/>
    <dgm:cxn modelId="{A2658597-B5C1-4866-9E29-A675816E7012}" type="presParOf" srcId="{32FFA4E9-4D40-44D1-94A9-8C88E1AD279E}" destId="{04837767-EBDE-4E2C-9DA8-E147D824625D}" srcOrd="1" destOrd="0" presId="urn:microsoft.com/office/officeart/2005/8/layout/hList1"/>
    <dgm:cxn modelId="{A2DC409C-4E89-4D15-B627-2F0146F0CE04}" type="presParOf" srcId="{C3792107-962B-4644-B703-F613D106AF4C}" destId="{A195F242-F6D5-43C9-8A97-1AD20FE06C5F}" srcOrd="3" destOrd="0" presId="urn:microsoft.com/office/officeart/2005/8/layout/hList1"/>
    <dgm:cxn modelId="{1D0D1195-0633-4EE5-B5BA-52655033B432}" type="presParOf" srcId="{C3792107-962B-4644-B703-F613D106AF4C}" destId="{5E0C38F0-DE5A-439A-AC9F-3FAF9FE98771}" srcOrd="4" destOrd="0" presId="urn:microsoft.com/office/officeart/2005/8/layout/hList1"/>
    <dgm:cxn modelId="{DED97CBD-9FD7-4993-B872-9DFC43AAF80D}" type="presParOf" srcId="{5E0C38F0-DE5A-439A-AC9F-3FAF9FE98771}" destId="{5ADA942B-8D31-4F58-B69A-EC8F5424FD65}" srcOrd="0" destOrd="0" presId="urn:microsoft.com/office/officeart/2005/8/layout/hList1"/>
    <dgm:cxn modelId="{5B7436B6-6B3F-4240-9BBA-B08108833EEF}" type="presParOf" srcId="{5E0C38F0-DE5A-439A-AC9F-3FAF9FE98771}" destId="{E65F844F-528F-4D17-8C0A-ACBFCCD077B8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445AF5A-0736-4B7B-A71A-66E4F66305F1}">
      <dsp:nvSpPr>
        <dsp:cNvPr id="0" name=""/>
        <dsp:cNvSpPr/>
      </dsp:nvSpPr>
      <dsp:spPr>
        <a:xfrm>
          <a:off x="3429" y="441426"/>
          <a:ext cx="3343274" cy="1337309"/>
        </a:xfrm>
        <a:prstGeom prst="rect">
          <a:avLst/>
        </a:prstGeom>
        <a:solidFill>
          <a:srgbClr val="FF6699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6699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/>
            <a:t>Local – Birmingham &amp; West Midlands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i="1" kern="1200"/>
            <a:t>Strengthening community ties</a:t>
          </a:r>
        </a:p>
      </dsp:txBody>
      <dsp:txXfrm>
        <a:off x="3429" y="441426"/>
        <a:ext cx="3343274" cy="1337309"/>
      </dsp:txXfrm>
    </dsp:sp>
    <dsp:sp modelId="{4A0F98C2-44DF-4F5E-9236-3CD76899D165}">
      <dsp:nvSpPr>
        <dsp:cNvPr id="0" name=""/>
        <dsp:cNvSpPr/>
      </dsp:nvSpPr>
      <dsp:spPr>
        <a:xfrm>
          <a:off x="3429" y="1778736"/>
          <a:ext cx="3343274" cy="2305799"/>
        </a:xfrm>
        <a:prstGeom prst="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000" kern="1200"/>
            <a:t>Local Organ Donation Committee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000" kern="1200"/>
            <a:t>Birmingham Community Engagement Lead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000" kern="1200"/>
            <a:t>Local PR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000" kern="1200"/>
            <a:t>Event opportunitie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000" kern="1200"/>
            <a:t>Schools engagement</a:t>
          </a:r>
        </a:p>
      </dsp:txBody>
      <dsp:txXfrm>
        <a:off x="3429" y="1778736"/>
        <a:ext cx="3343274" cy="2305799"/>
      </dsp:txXfrm>
    </dsp:sp>
    <dsp:sp modelId="{EA577E38-4A25-49EC-BF57-D6F570727AEC}">
      <dsp:nvSpPr>
        <dsp:cNvPr id="0" name=""/>
        <dsp:cNvSpPr/>
      </dsp:nvSpPr>
      <dsp:spPr>
        <a:xfrm>
          <a:off x="3814762" y="441426"/>
          <a:ext cx="3343274" cy="1337309"/>
        </a:xfrm>
        <a:prstGeom prst="rect">
          <a:avLst/>
        </a:prstGeom>
        <a:solidFill>
          <a:schemeClr val="accent3">
            <a:hueOff val="-2999996"/>
            <a:satOff val="-24590"/>
            <a:lumOff val="-17059"/>
            <a:alphaOff val="0"/>
          </a:schemeClr>
        </a:solidFill>
        <a:ln w="25400" cap="flat" cmpd="sng" algn="ctr">
          <a:solidFill>
            <a:schemeClr val="accent3">
              <a:hueOff val="-2999996"/>
              <a:satOff val="-24590"/>
              <a:lumOff val="-1705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/>
            <a:t>UK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i="1" kern="1200"/>
            <a:t>Making organ donation engaging &amp; accessible across the four nations</a:t>
          </a:r>
        </a:p>
      </dsp:txBody>
      <dsp:txXfrm>
        <a:off x="3814762" y="441426"/>
        <a:ext cx="3343274" cy="1337309"/>
      </dsp:txXfrm>
    </dsp:sp>
    <dsp:sp modelId="{04837767-EBDE-4E2C-9DA8-E147D824625D}">
      <dsp:nvSpPr>
        <dsp:cNvPr id="0" name=""/>
        <dsp:cNvSpPr/>
      </dsp:nvSpPr>
      <dsp:spPr>
        <a:xfrm>
          <a:off x="3814762" y="1778736"/>
          <a:ext cx="3343274" cy="2305799"/>
        </a:xfrm>
        <a:prstGeom prst="rect">
          <a:avLst/>
        </a:prstGeom>
        <a:solidFill>
          <a:schemeClr val="accent3">
            <a:tint val="40000"/>
            <a:alpha val="90000"/>
            <a:hueOff val="-3174607"/>
            <a:satOff val="-42478"/>
            <a:lumOff val="-4233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-3174607"/>
              <a:satOff val="-42478"/>
              <a:lumOff val="-423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000" kern="1200"/>
            <a:t>PR photo launch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000" kern="1200"/>
            <a:t>Celebrity athlete advocate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000" kern="1200"/>
            <a:t>Community Investment Scheme partnering with Commonwealth nations</a:t>
          </a:r>
        </a:p>
      </dsp:txBody>
      <dsp:txXfrm>
        <a:off x="3814762" y="1778736"/>
        <a:ext cx="3343274" cy="2305799"/>
      </dsp:txXfrm>
    </dsp:sp>
    <dsp:sp modelId="{5ADA942B-8D31-4F58-B69A-EC8F5424FD65}">
      <dsp:nvSpPr>
        <dsp:cNvPr id="0" name=""/>
        <dsp:cNvSpPr/>
      </dsp:nvSpPr>
      <dsp:spPr>
        <a:xfrm>
          <a:off x="7626096" y="441426"/>
          <a:ext cx="3343274" cy="1337309"/>
        </a:xfrm>
        <a:prstGeom prst="rect">
          <a:avLst/>
        </a:prstGeom>
        <a:solidFill>
          <a:schemeClr val="accent3">
            <a:hueOff val="-5999993"/>
            <a:satOff val="-49180"/>
            <a:lumOff val="-34118"/>
            <a:alphaOff val="0"/>
          </a:schemeClr>
        </a:solidFill>
        <a:ln w="25400" cap="flat" cmpd="sng" algn="ctr">
          <a:solidFill>
            <a:schemeClr val="accent3">
              <a:hueOff val="-5999993"/>
              <a:satOff val="-49180"/>
              <a:lumOff val="-3411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/>
            <a:t>Commonwealth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i="1" kern="1200"/>
            <a:t>Maximising social media support</a:t>
          </a:r>
        </a:p>
      </dsp:txBody>
      <dsp:txXfrm>
        <a:off x="7626096" y="441426"/>
        <a:ext cx="3343274" cy="1337309"/>
      </dsp:txXfrm>
    </dsp:sp>
    <dsp:sp modelId="{E65F844F-528F-4D17-8C0A-ACBFCCD077B8}">
      <dsp:nvSpPr>
        <dsp:cNvPr id="0" name=""/>
        <dsp:cNvSpPr/>
      </dsp:nvSpPr>
      <dsp:spPr>
        <a:xfrm>
          <a:off x="7626096" y="1778736"/>
          <a:ext cx="3343274" cy="2305799"/>
        </a:xfrm>
        <a:prstGeom prst="rect">
          <a:avLst/>
        </a:prstGeom>
        <a:solidFill>
          <a:schemeClr val="accent3">
            <a:tint val="40000"/>
            <a:alpha val="90000"/>
            <a:hueOff val="-6349213"/>
            <a:satOff val="-84956"/>
            <a:lumOff val="-8466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-6349213"/>
              <a:satOff val="-84956"/>
              <a:lumOff val="-846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000" kern="1200"/>
            <a:t>United social media approach to drive advocacy and talkability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2000" kern="1200"/>
            <a:t>Social toolkit / video</a:t>
          </a:r>
        </a:p>
      </dsp:txBody>
      <dsp:txXfrm>
        <a:off x="7626096" y="1778736"/>
        <a:ext cx="3343274" cy="23057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42AE0A-7174-BB47-97BF-834E60330A69}" type="datetimeFigureOut">
              <a:rPr lang="en-GB" smtClean="0"/>
              <a:t>08/02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9E07D0-4EF6-6D4D-952C-648B6638CB0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51389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79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1795" name="Rectangle 3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85734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79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1795" name="Rectangle 3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6724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79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1795" name="Rectangle 3"/>
          <p:cNvSpPr>
            <a:spLocks noGrp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46647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E5884E-191F-444F-90F2-12716908F8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A921ED9-E2FC-1247-8801-2E51B33FE3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409B58-F013-0A44-9F0D-4CC975F5C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F8977-2BF9-5049-ABDF-5531E86C8FAF}" type="datetimeFigureOut">
              <a:rPr lang="en-GB" smtClean="0"/>
              <a:t>08/02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BAC70D-5CBB-C04E-B96E-B32A453D54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18BD10-253E-B848-A19F-9563A7018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9411B2-EAC1-5543-9471-EF8DAB78A27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10153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208F1A-3FA7-7B4F-8F70-14196ED182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F062892-02F3-5041-9AEE-70690A2C58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0D0867-CFE5-EA4B-8B67-2084B9E2EA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F8977-2BF9-5049-ABDF-5531E86C8FAF}" type="datetimeFigureOut">
              <a:rPr lang="en-GB" smtClean="0"/>
              <a:t>08/02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50D23C-1E0C-9840-9ADB-A49EE0CC9F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5EB0D6-9EC1-754C-9B20-B8CCD27D9D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9411B2-EAC1-5543-9471-EF8DAB78A27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31611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63156C2-45F0-714C-BE85-DAB68696133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996EC33-63C0-E043-A839-8FE3448D40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3C67FD-7FF1-AA4F-A55E-B6C948D6A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F8977-2BF9-5049-ABDF-5531E86C8FAF}" type="datetimeFigureOut">
              <a:rPr lang="en-GB" smtClean="0"/>
              <a:t>08/02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88797B-BF56-1745-B171-69AB56FE93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BF49A-31BD-BD43-99CE-13A52A514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9411B2-EAC1-5543-9471-EF8DAB78A27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80323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ernative title slide">
    <p:bg>
      <p:bgPr>
        <a:gradFill rotWithShape="1">
          <a:gsLst>
            <a:gs pos="0">
              <a:srgbClr val="0091C9"/>
            </a:gs>
            <a:gs pos="60001">
              <a:srgbClr val="0072C6"/>
            </a:gs>
            <a:gs pos="100000">
              <a:srgbClr val="00389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7">
            <a:extLst>
              <a:ext uri="{FF2B5EF4-FFF2-40B4-BE49-F238E27FC236}">
                <a16:creationId xmlns:a16="http://schemas.microsoft.com/office/drawing/2014/main" id="{8FC55732-AEDD-47CF-94A3-0A043FAC2AA5}"/>
              </a:ext>
            </a:extLst>
          </p:cNvPr>
          <p:cNvSpPr/>
          <p:nvPr/>
        </p:nvSpPr>
        <p:spPr>
          <a:xfrm>
            <a:off x="-6350" y="-9525"/>
            <a:ext cx="12212638" cy="2019300"/>
          </a:xfrm>
          <a:custGeom>
            <a:avLst/>
            <a:gdLst>
              <a:gd name="connsiteX0" fmla="*/ 0 w 9262587"/>
              <a:gd name="connsiteY0" fmla="*/ 1836110 h 2121727"/>
              <a:gd name="connsiteX1" fmla="*/ 1168024 w 9262587"/>
              <a:gd name="connsiteY1" fmla="*/ 1581095 h 2121727"/>
              <a:gd name="connsiteX2" fmla="*/ 1994312 w 9262587"/>
              <a:gd name="connsiteY2" fmla="*/ 1535192 h 2121727"/>
              <a:gd name="connsiteX3" fmla="*/ 2693087 w 9262587"/>
              <a:gd name="connsiteY3" fmla="*/ 1550493 h 2121727"/>
              <a:gd name="connsiteX4" fmla="*/ 4141641 w 9262587"/>
              <a:gd name="connsiteY4" fmla="*/ 1831010 h 2121727"/>
              <a:gd name="connsiteX5" fmla="*/ 5212756 w 9262587"/>
              <a:gd name="connsiteY5" fmla="*/ 2075824 h 2121727"/>
              <a:gd name="connsiteX6" fmla="*/ 7043851 w 9262587"/>
              <a:gd name="connsiteY6" fmla="*/ 2121727 h 2121727"/>
              <a:gd name="connsiteX7" fmla="*/ 8844343 w 9262587"/>
              <a:gd name="connsiteY7" fmla="*/ 1866712 h 2121727"/>
              <a:gd name="connsiteX8" fmla="*/ 9262587 w 9262587"/>
              <a:gd name="connsiteY8" fmla="*/ 1611696 h 2121727"/>
              <a:gd name="connsiteX9" fmla="*/ 9221783 w 9262587"/>
              <a:gd name="connsiteY9" fmla="*/ 0 h 2121727"/>
              <a:gd name="connsiteX10" fmla="*/ 20402 w 9262587"/>
              <a:gd name="connsiteY10" fmla="*/ 40802 h 2121727"/>
              <a:gd name="connsiteX11" fmla="*/ 0 w 9262587"/>
              <a:gd name="connsiteY11" fmla="*/ 1836110 h 2121727"/>
              <a:gd name="connsiteX0" fmla="*/ 0 w 9221783"/>
              <a:gd name="connsiteY0" fmla="*/ 1836110 h 2121727"/>
              <a:gd name="connsiteX1" fmla="*/ 1168024 w 9221783"/>
              <a:gd name="connsiteY1" fmla="*/ 1581095 h 2121727"/>
              <a:gd name="connsiteX2" fmla="*/ 1994312 w 9221783"/>
              <a:gd name="connsiteY2" fmla="*/ 1535192 h 2121727"/>
              <a:gd name="connsiteX3" fmla="*/ 2693087 w 9221783"/>
              <a:gd name="connsiteY3" fmla="*/ 1550493 h 2121727"/>
              <a:gd name="connsiteX4" fmla="*/ 4141641 w 9221783"/>
              <a:gd name="connsiteY4" fmla="*/ 1831010 h 2121727"/>
              <a:gd name="connsiteX5" fmla="*/ 5212756 w 9221783"/>
              <a:gd name="connsiteY5" fmla="*/ 2075824 h 2121727"/>
              <a:gd name="connsiteX6" fmla="*/ 7043851 w 9221783"/>
              <a:gd name="connsiteY6" fmla="*/ 2121727 h 2121727"/>
              <a:gd name="connsiteX7" fmla="*/ 8844343 w 9221783"/>
              <a:gd name="connsiteY7" fmla="*/ 1866712 h 2121727"/>
              <a:gd name="connsiteX8" fmla="*/ 9170777 w 9221783"/>
              <a:gd name="connsiteY8" fmla="*/ 1662699 h 2121727"/>
              <a:gd name="connsiteX9" fmla="*/ 9221783 w 9221783"/>
              <a:gd name="connsiteY9" fmla="*/ 0 h 2121727"/>
              <a:gd name="connsiteX10" fmla="*/ 20402 w 9221783"/>
              <a:gd name="connsiteY10" fmla="*/ 40802 h 2121727"/>
              <a:gd name="connsiteX11" fmla="*/ 0 w 9221783"/>
              <a:gd name="connsiteY11" fmla="*/ 1836110 h 2121727"/>
              <a:gd name="connsiteX0" fmla="*/ 0 w 9170777"/>
              <a:gd name="connsiteY0" fmla="*/ 1795308 h 2080925"/>
              <a:gd name="connsiteX1" fmla="*/ 1168024 w 9170777"/>
              <a:gd name="connsiteY1" fmla="*/ 1540293 h 2080925"/>
              <a:gd name="connsiteX2" fmla="*/ 1994312 w 9170777"/>
              <a:gd name="connsiteY2" fmla="*/ 1494390 h 2080925"/>
              <a:gd name="connsiteX3" fmla="*/ 2693087 w 9170777"/>
              <a:gd name="connsiteY3" fmla="*/ 1509691 h 2080925"/>
              <a:gd name="connsiteX4" fmla="*/ 4141641 w 9170777"/>
              <a:gd name="connsiteY4" fmla="*/ 1790208 h 2080925"/>
              <a:gd name="connsiteX5" fmla="*/ 5212756 w 9170777"/>
              <a:gd name="connsiteY5" fmla="*/ 2035022 h 2080925"/>
              <a:gd name="connsiteX6" fmla="*/ 7043851 w 9170777"/>
              <a:gd name="connsiteY6" fmla="*/ 2080925 h 2080925"/>
              <a:gd name="connsiteX7" fmla="*/ 8844343 w 9170777"/>
              <a:gd name="connsiteY7" fmla="*/ 1825910 h 2080925"/>
              <a:gd name="connsiteX8" fmla="*/ 9170777 w 9170777"/>
              <a:gd name="connsiteY8" fmla="*/ 1621897 h 2080925"/>
              <a:gd name="connsiteX9" fmla="*/ 9119772 w 9170777"/>
              <a:gd name="connsiteY9" fmla="*/ 61204 h 2080925"/>
              <a:gd name="connsiteX10" fmla="*/ 20402 w 9170777"/>
              <a:gd name="connsiteY10" fmla="*/ 0 h 2080925"/>
              <a:gd name="connsiteX11" fmla="*/ 0 w 9170777"/>
              <a:gd name="connsiteY11" fmla="*/ 1795308 h 2080925"/>
              <a:gd name="connsiteX0" fmla="*/ 0 w 9170777"/>
              <a:gd name="connsiteY0" fmla="*/ 1795308 h 2080925"/>
              <a:gd name="connsiteX1" fmla="*/ 1168024 w 9170777"/>
              <a:gd name="connsiteY1" fmla="*/ 1540293 h 2080925"/>
              <a:gd name="connsiteX2" fmla="*/ 1994312 w 9170777"/>
              <a:gd name="connsiteY2" fmla="*/ 1494390 h 2080925"/>
              <a:gd name="connsiteX3" fmla="*/ 2693087 w 9170777"/>
              <a:gd name="connsiteY3" fmla="*/ 1509691 h 2080925"/>
              <a:gd name="connsiteX4" fmla="*/ 4141641 w 9170777"/>
              <a:gd name="connsiteY4" fmla="*/ 1790208 h 2080925"/>
              <a:gd name="connsiteX5" fmla="*/ 5212756 w 9170777"/>
              <a:gd name="connsiteY5" fmla="*/ 2035022 h 2080925"/>
              <a:gd name="connsiteX6" fmla="*/ 7043851 w 9170777"/>
              <a:gd name="connsiteY6" fmla="*/ 2080925 h 2080925"/>
              <a:gd name="connsiteX7" fmla="*/ 8844343 w 9170777"/>
              <a:gd name="connsiteY7" fmla="*/ 1825910 h 2080925"/>
              <a:gd name="connsiteX8" fmla="*/ 9170777 w 9170777"/>
              <a:gd name="connsiteY8" fmla="*/ 1621897 h 2080925"/>
              <a:gd name="connsiteX9" fmla="*/ 9119772 w 9170777"/>
              <a:gd name="connsiteY9" fmla="*/ 61204 h 2080925"/>
              <a:gd name="connsiteX10" fmla="*/ 20402 w 9170777"/>
              <a:gd name="connsiteY10" fmla="*/ 0 h 2080925"/>
              <a:gd name="connsiteX11" fmla="*/ 0 w 9170777"/>
              <a:gd name="connsiteY11" fmla="*/ 1795308 h 2080925"/>
              <a:gd name="connsiteX0" fmla="*/ 0 w 9119859"/>
              <a:gd name="connsiteY0" fmla="*/ 1795308 h 2080925"/>
              <a:gd name="connsiteX1" fmla="*/ 1168024 w 9119859"/>
              <a:gd name="connsiteY1" fmla="*/ 1540293 h 2080925"/>
              <a:gd name="connsiteX2" fmla="*/ 1994312 w 9119859"/>
              <a:gd name="connsiteY2" fmla="*/ 1494390 h 2080925"/>
              <a:gd name="connsiteX3" fmla="*/ 2693087 w 9119859"/>
              <a:gd name="connsiteY3" fmla="*/ 1509691 h 2080925"/>
              <a:gd name="connsiteX4" fmla="*/ 4141641 w 9119859"/>
              <a:gd name="connsiteY4" fmla="*/ 1790208 h 2080925"/>
              <a:gd name="connsiteX5" fmla="*/ 5212756 w 9119859"/>
              <a:gd name="connsiteY5" fmla="*/ 2035022 h 2080925"/>
              <a:gd name="connsiteX6" fmla="*/ 7043851 w 9119859"/>
              <a:gd name="connsiteY6" fmla="*/ 2080925 h 2080925"/>
              <a:gd name="connsiteX7" fmla="*/ 8844343 w 9119859"/>
              <a:gd name="connsiteY7" fmla="*/ 1825910 h 2080925"/>
              <a:gd name="connsiteX8" fmla="*/ 9114671 w 9119859"/>
              <a:gd name="connsiteY8" fmla="*/ 1667800 h 2080925"/>
              <a:gd name="connsiteX9" fmla="*/ 9119772 w 9119859"/>
              <a:gd name="connsiteY9" fmla="*/ 61204 h 2080925"/>
              <a:gd name="connsiteX10" fmla="*/ 20402 w 9119859"/>
              <a:gd name="connsiteY10" fmla="*/ 0 h 2080925"/>
              <a:gd name="connsiteX11" fmla="*/ 0 w 9119859"/>
              <a:gd name="connsiteY11" fmla="*/ 1795308 h 2080925"/>
              <a:gd name="connsiteX0" fmla="*/ 0 w 9120224"/>
              <a:gd name="connsiteY0" fmla="*/ 1795308 h 2080925"/>
              <a:gd name="connsiteX1" fmla="*/ 1168024 w 9120224"/>
              <a:gd name="connsiteY1" fmla="*/ 1540293 h 2080925"/>
              <a:gd name="connsiteX2" fmla="*/ 1994312 w 9120224"/>
              <a:gd name="connsiteY2" fmla="*/ 1494390 h 2080925"/>
              <a:gd name="connsiteX3" fmla="*/ 2693087 w 9120224"/>
              <a:gd name="connsiteY3" fmla="*/ 1509691 h 2080925"/>
              <a:gd name="connsiteX4" fmla="*/ 4141641 w 9120224"/>
              <a:gd name="connsiteY4" fmla="*/ 1790208 h 2080925"/>
              <a:gd name="connsiteX5" fmla="*/ 5212756 w 9120224"/>
              <a:gd name="connsiteY5" fmla="*/ 2035022 h 2080925"/>
              <a:gd name="connsiteX6" fmla="*/ 7043851 w 9120224"/>
              <a:gd name="connsiteY6" fmla="*/ 2080925 h 2080925"/>
              <a:gd name="connsiteX7" fmla="*/ 8844343 w 9120224"/>
              <a:gd name="connsiteY7" fmla="*/ 1825910 h 2080925"/>
              <a:gd name="connsiteX8" fmla="*/ 9114671 w 9120224"/>
              <a:gd name="connsiteY8" fmla="*/ 1667800 h 2080925"/>
              <a:gd name="connsiteX9" fmla="*/ 9119772 w 9120224"/>
              <a:gd name="connsiteY9" fmla="*/ 61204 h 2080925"/>
              <a:gd name="connsiteX10" fmla="*/ 20402 w 9120224"/>
              <a:gd name="connsiteY10" fmla="*/ 0 h 2080925"/>
              <a:gd name="connsiteX11" fmla="*/ 0 w 9120224"/>
              <a:gd name="connsiteY11" fmla="*/ 1795308 h 2080925"/>
              <a:gd name="connsiteX0" fmla="*/ 40949 w 9161173"/>
              <a:gd name="connsiteY0" fmla="*/ 1734116 h 2019733"/>
              <a:gd name="connsiteX1" fmla="*/ 1208973 w 9161173"/>
              <a:gd name="connsiteY1" fmla="*/ 1479101 h 2019733"/>
              <a:gd name="connsiteX2" fmla="*/ 2035261 w 9161173"/>
              <a:gd name="connsiteY2" fmla="*/ 1433198 h 2019733"/>
              <a:gd name="connsiteX3" fmla="*/ 2734036 w 9161173"/>
              <a:gd name="connsiteY3" fmla="*/ 1448499 h 2019733"/>
              <a:gd name="connsiteX4" fmla="*/ 4182590 w 9161173"/>
              <a:gd name="connsiteY4" fmla="*/ 1729016 h 2019733"/>
              <a:gd name="connsiteX5" fmla="*/ 5253705 w 9161173"/>
              <a:gd name="connsiteY5" fmla="*/ 1973830 h 2019733"/>
              <a:gd name="connsiteX6" fmla="*/ 7084800 w 9161173"/>
              <a:gd name="connsiteY6" fmla="*/ 2019733 h 2019733"/>
              <a:gd name="connsiteX7" fmla="*/ 8885292 w 9161173"/>
              <a:gd name="connsiteY7" fmla="*/ 1764718 h 2019733"/>
              <a:gd name="connsiteX8" fmla="*/ 9155620 w 9161173"/>
              <a:gd name="connsiteY8" fmla="*/ 1606608 h 2019733"/>
              <a:gd name="connsiteX9" fmla="*/ 9160721 w 9161173"/>
              <a:gd name="connsiteY9" fmla="*/ 12 h 2019733"/>
              <a:gd name="connsiteX10" fmla="*/ 144 w 9161173"/>
              <a:gd name="connsiteY10" fmla="*/ 35714 h 2019733"/>
              <a:gd name="connsiteX11" fmla="*/ 40949 w 9161173"/>
              <a:gd name="connsiteY11" fmla="*/ 1734116 h 2019733"/>
              <a:gd name="connsiteX0" fmla="*/ 40805 w 9161029"/>
              <a:gd name="connsiteY0" fmla="*/ 17341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35714 h 2019733"/>
              <a:gd name="connsiteX11" fmla="*/ 40805 w 9161029"/>
              <a:gd name="connsiteY11" fmla="*/ 17341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35714 h 2019733"/>
              <a:gd name="connsiteX11" fmla="*/ 0 w 9161029"/>
              <a:gd name="connsiteY11" fmla="*/ 17392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35714 h 2019733"/>
              <a:gd name="connsiteX11" fmla="*/ 0 w 9161029"/>
              <a:gd name="connsiteY11" fmla="*/ 17392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2639 h 2019733"/>
              <a:gd name="connsiteX11" fmla="*/ 0 w 9161029"/>
              <a:gd name="connsiteY11" fmla="*/ 17392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2639 h 2019733"/>
              <a:gd name="connsiteX11" fmla="*/ 0 w 9161029"/>
              <a:gd name="connsiteY11" fmla="*/ 17392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2639 h 2019733"/>
              <a:gd name="connsiteX11" fmla="*/ 0 w 9161029"/>
              <a:gd name="connsiteY11" fmla="*/ 1739216 h 2019733"/>
              <a:gd name="connsiteX0" fmla="*/ 8028 w 9169057"/>
              <a:gd name="connsiteY0" fmla="*/ 1739216 h 2019733"/>
              <a:gd name="connsiteX1" fmla="*/ 1216857 w 9169057"/>
              <a:gd name="connsiteY1" fmla="*/ 1479101 h 2019733"/>
              <a:gd name="connsiteX2" fmla="*/ 2043145 w 9169057"/>
              <a:gd name="connsiteY2" fmla="*/ 1433198 h 2019733"/>
              <a:gd name="connsiteX3" fmla="*/ 2741920 w 9169057"/>
              <a:gd name="connsiteY3" fmla="*/ 1448499 h 2019733"/>
              <a:gd name="connsiteX4" fmla="*/ 4190474 w 9169057"/>
              <a:gd name="connsiteY4" fmla="*/ 1729016 h 2019733"/>
              <a:gd name="connsiteX5" fmla="*/ 5261589 w 9169057"/>
              <a:gd name="connsiteY5" fmla="*/ 1973830 h 2019733"/>
              <a:gd name="connsiteX6" fmla="*/ 7092684 w 9169057"/>
              <a:gd name="connsiteY6" fmla="*/ 2019733 h 2019733"/>
              <a:gd name="connsiteX7" fmla="*/ 8893176 w 9169057"/>
              <a:gd name="connsiteY7" fmla="*/ 1764718 h 2019733"/>
              <a:gd name="connsiteX8" fmla="*/ 9163504 w 9169057"/>
              <a:gd name="connsiteY8" fmla="*/ 1606608 h 2019733"/>
              <a:gd name="connsiteX9" fmla="*/ 9168605 w 9169057"/>
              <a:gd name="connsiteY9" fmla="*/ 12 h 2019733"/>
              <a:gd name="connsiteX10" fmla="*/ 8028 w 9169057"/>
              <a:gd name="connsiteY10" fmla="*/ 2639 h 2019733"/>
              <a:gd name="connsiteX11" fmla="*/ 8028 w 9169057"/>
              <a:gd name="connsiteY11" fmla="*/ 1739216 h 2019733"/>
              <a:gd name="connsiteX0" fmla="*/ 737673 w 9898702"/>
              <a:gd name="connsiteY0" fmla="*/ 1739216 h 2019733"/>
              <a:gd name="connsiteX1" fmla="*/ 1946502 w 9898702"/>
              <a:gd name="connsiteY1" fmla="*/ 1479101 h 2019733"/>
              <a:gd name="connsiteX2" fmla="*/ 2772790 w 9898702"/>
              <a:gd name="connsiteY2" fmla="*/ 1433198 h 2019733"/>
              <a:gd name="connsiteX3" fmla="*/ 3471565 w 9898702"/>
              <a:gd name="connsiteY3" fmla="*/ 1448499 h 2019733"/>
              <a:gd name="connsiteX4" fmla="*/ 4920119 w 9898702"/>
              <a:gd name="connsiteY4" fmla="*/ 1729016 h 2019733"/>
              <a:gd name="connsiteX5" fmla="*/ 5991234 w 9898702"/>
              <a:gd name="connsiteY5" fmla="*/ 1973830 h 2019733"/>
              <a:gd name="connsiteX6" fmla="*/ 7822329 w 9898702"/>
              <a:gd name="connsiteY6" fmla="*/ 2019733 h 2019733"/>
              <a:gd name="connsiteX7" fmla="*/ 9622821 w 9898702"/>
              <a:gd name="connsiteY7" fmla="*/ 1764718 h 2019733"/>
              <a:gd name="connsiteX8" fmla="*/ 9893149 w 9898702"/>
              <a:gd name="connsiteY8" fmla="*/ 1606608 h 2019733"/>
              <a:gd name="connsiteX9" fmla="*/ 9898250 w 9898702"/>
              <a:gd name="connsiteY9" fmla="*/ 12 h 2019733"/>
              <a:gd name="connsiteX10" fmla="*/ 737673 w 9898702"/>
              <a:gd name="connsiteY10" fmla="*/ 2639 h 2019733"/>
              <a:gd name="connsiteX11" fmla="*/ 737673 w 9898702"/>
              <a:gd name="connsiteY11" fmla="*/ 1739216 h 2019733"/>
              <a:gd name="connsiteX0" fmla="*/ 753082 w 9914111"/>
              <a:gd name="connsiteY0" fmla="*/ 1739216 h 2019733"/>
              <a:gd name="connsiteX1" fmla="*/ 1961911 w 9914111"/>
              <a:gd name="connsiteY1" fmla="*/ 1479101 h 2019733"/>
              <a:gd name="connsiteX2" fmla="*/ 2788199 w 9914111"/>
              <a:gd name="connsiteY2" fmla="*/ 1433198 h 2019733"/>
              <a:gd name="connsiteX3" fmla="*/ 3486974 w 9914111"/>
              <a:gd name="connsiteY3" fmla="*/ 1448499 h 2019733"/>
              <a:gd name="connsiteX4" fmla="*/ 4935528 w 9914111"/>
              <a:gd name="connsiteY4" fmla="*/ 1729016 h 2019733"/>
              <a:gd name="connsiteX5" fmla="*/ 6006643 w 9914111"/>
              <a:gd name="connsiteY5" fmla="*/ 1973830 h 2019733"/>
              <a:gd name="connsiteX6" fmla="*/ 7837738 w 9914111"/>
              <a:gd name="connsiteY6" fmla="*/ 2019733 h 2019733"/>
              <a:gd name="connsiteX7" fmla="*/ 9638230 w 9914111"/>
              <a:gd name="connsiteY7" fmla="*/ 1764718 h 2019733"/>
              <a:gd name="connsiteX8" fmla="*/ 9908558 w 9914111"/>
              <a:gd name="connsiteY8" fmla="*/ 1606608 h 2019733"/>
              <a:gd name="connsiteX9" fmla="*/ 9913659 w 9914111"/>
              <a:gd name="connsiteY9" fmla="*/ 12 h 2019733"/>
              <a:gd name="connsiteX10" fmla="*/ 753082 w 9914111"/>
              <a:gd name="connsiteY10" fmla="*/ 2639 h 2019733"/>
              <a:gd name="connsiteX11" fmla="*/ 753082 w 9914111"/>
              <a:gd name="connsiteY11" fmla="*/ 1739216 h 2019733"/>
              <a:gd name="connsiteX0" fmla="*/ 678562 w 9839591"/>
              <a:gd name="connsiteY0" fmla="*/ 1739216 h 2019733"/>
              <a:gd name="connsiteX1" fmla="*/ 1887391 w 9839591"/>
              <a:gd name="connsiteY1" fmla="*/ 1479101 h 2019733"/>
              <a:gd name="connsiteX2" fmla="*/ 2713679 w 9839591"/>
              <a:gd name="connsiteY2" fmla="*/ 1433198 h 2019733"/>
              <a:gd name="connsiteX3" fmla="*/ 3412454 w 9839591"/>
              <a:gd name="connsiteY3" fmla="*/ 1448499 h 2019733"/>
              <a:gd name="connsiteX4" fmla="*/ 4861008 w 9839591"/>
              <a:gd name="connsiteY4" fmla="*/ 1729016 h 2019733"/>
              <a:gd name="connsiteX5" fmla="*/ 5932123 w 9839591"/>
              <a:gd name="connsiteY5" fmla="*/ 1973830 h 2019733"/>
              <a:gd name="connsiteX6" fmla="*/ 7763218 w 9839591"/>
              <a:gd name="connsiteY6" fmla="*/ 2019733 h 2019733"/>
              <a:gd name="connsiteX7" fmla="*/ 9563710 w 9839591"/>
              <a:gd name="connsiteY7" fmla="*/ 1764718 h 2019733"/>
              <a:gd name="connsiteX8" fmla="*/ 9834038 w 9839591"/>
              <a:gd name="connsiteY8" fmla="*/ 1606608 h 2019733"/>
              <a:gd name="connsiteX9" fmla="*/ 9839139 w 9839591"/>
              <a:gd name="connsiteY9" fmla="*/ 12 h 2019733"/>
              <a:gd name="connsiteX10" fmla="*/ 678562 w 9839591"/>
              <a:gd name="connsiteY10" fmla="*/ 2639 h 2019733"/>
              <a:gd name="connsiteX11" fmla="*/ 678562 w 9839591"/>
              <a:gd name="connsiteY11" fmla="*/ 17392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2639 h 2019733"/>
              <a:gd name="connsiteX11" fmla="*/ 0 w 9161029"/>
              <a:gd name="connsiteY11" fmla="*/ 1739216 h 2019733"/>
              <a:gd name="connsiteX0" fmla="*/ 0 w 9160577"/>
              <a:gd name="connsiteY0" fmla="*/ 1739204 h 2019721"/>
              <a:gd name="connsiteX1" fmla="*/ 1208829 w 9160577"/>
              <a:gd name="connsiteY1" fmla="*/ 1479089 h 2019721"/>
              <a:gd name="connsiteX2" fmla="*/ 2035117 w 9160577"/>
              <a:gd name="connsiteY2" fmla="*/ 1433186 h 2019721"/>
              <a:gd name="connsiteX3" fmla="*/ 2733892 w 9160577"/>
              <a:gd name="connsiteY3" fmla="*/ 1448487 h 2019721"/>
              <a:gd name="connsiteX4" fmla="*/ 4182446 w 9160577"/>
              <a:gd name="connsiteY4" fmla="*/ 1729004 h 2019721"/>
              <a:gd name="connsiteX5" fmla="*/ 5253561 w 9160577"/>
              <a:gd name="connsiteY5" fmla="*/ 1973818 h 2019721"/>
              <a:gd name="connsiteX6" fmla="*/ 7084656 w 9160577"/>
              <a:gd name="connsiteY6" fmla="*/ 2019721 h 2019721"/>
              <a:gd name="connsiteX7" fmla="*/ 8885148 w 9160577"/>
              <a:gd name="connsiteY7" fmla="*/ 1764706 h 2019721"/>
              <a:gd name="connsiteX8" fmla="*/ 9155476 w 9160577"/>
              <a:gd name="connsiteY8" fmla="*/ 1606596 h 2019721"/>
              <a:gd name="connsiteX9" fmla="*/ 9160577 w 9160577"/>
              <a:gd name="connsiteY9" fmla="*/ 0 h 2019721"/>
              <a:gd name="connsiteX10" fmla="*/ 0 w 9160577"/>
              <a:gd name="connsiteY10" fmla="*/ 2627 h 2019721"/>
              <a:gd name="connsiteX11" fmla="*/ 0 w 9160577"/>
              <a:gd name="connsiteY11" fmla="*/ 1739204 h 2019721"/>
              <a:gd name="connsiteX0" fmla="*/ 0 w 9160577"/>
              <a:gd name="connsiteY0" fmla="*/ 1739204 h 2019721"/>
              <a:gd name="connsiteX1" fmla="*/ 1208829 w 9160577"/>
              <a:gd name="connsiteY1" fmla="*/ 1479089 h 2019721"/>
              <a:gd name="connsiteX2" fmla="*/ 2035117 w 9160577"/>
              <a:gd name="connsiteY2" fmla="*/ 1433186 h 2019721"/>
              <a:gd name="connsiteX3" fmla="*/ 2733892 w 9160577"/>
              <a:gd name="connsiteY3" fmla="*/ 1448487 h 2019721"/>
              <a:gd name="connsiteX4" fmla="*/ 4182446 w 9160577"/>
              <a:gd name="connsiteY4" fmla="*/ 1729004 h 2019721"/>
              <a:gd name="connsiteX5" fmla="*/ 5253561 w 9160577"/>
              <a:gd name="connsiteY5" fmla="*/ 1973818 h 2019721"/>
              <a:gd name="connsiteX6" fmla="*/ 7084656 w 9160577"/>
              <a:gd name="connsiteY6" fmla="*/ 2019721 h 2019721"/>
              <a:gd name="connsiteX7" fmla="*/ 8885148 w 9160577"/>
              <a:gd name="connsiteY7" fmla="*/ 1764706 h 2019721"/>
              <a:gd name="connsiteX8" fmla="*/ 9155476 w 9160577"/>
              <a:gd name="connsiteY8" fmla="*/ 1606596 h 2019721"/>
              <a:gd name="connsiteX9" fmla="*/ 9160577 w 9160577"/>
              <a:gd name="connsiteY9" fmla="*/ 0 h 2019721"/>
              <a:gd name="connsiteX10" fmla="*/ 0 w 9160577"/>
              <a:gd name="connsiteY10" fmla="*/ 2627 h 2019721"/>
              <a:gd name="connsiteX11" fmla="*/ 0 w 9160577"/>
              <a:gd name="connsiteY11" fmla="*/ 1739204 h 2019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60577" h="2019721">
                <a:moveTo>
                  <a:pt x="0" y="1739204"/>
                </a:moveTo>
                <a:lnTo>
                  <a:pt x="1208829" y="1479089"/>
                </a:lnTo>
                <a:lnTo>
                  <a:pt x="2035117" y="1433186"/>
                </a:lnTo>
                <a:lnTo>
                  <a:pt x="2733892" y="1448487"/>
                </a:lnTo>
                <a:lnTo>
                  <a:pt x="4182446" y="1729004"/>
                </a:lnTo>
                <a:lnTo>
                  <a:pt x="5253561" y="1973818"/>
                </a:lnTo>
                <a:lnTo>
                  <a:pt x="7084656" y="2019721"/>
                </a:lnTo>
                <a:lnTo>
                  <a:pt x="8885148" y="1764706"/>
                </a:lnTo>
                <a:lnTo>
                  <a:pt x="9155476" y="1606596"/>
                </a:lnTo>
                <a:cubicBezTo>
                  <a:pt x="9158026" y="803298"/>
                  <a:pt x="9158026" y="803298"/>
                  <a:pt x="9160577" y="0"/>
                </a:cubicBezTo>
                <a:lnTo>
                  <a:pt x="0" y="2627"/>
                </a:lnTo>
                <a:lnTo>
                  <a:pt x="0" y="17392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7" descr="_0000_NHSBT_Ribbon_NHS_Blue_RGB_WhiteAbv_DRAFT.png">
            <a:extLst>
              <a:ext uri="{FF2B5EF4-FFF2-40B4-BE49-F238E27FC236}">
                <a16:creationId xmlns:a16="http://schemas.microsoft.com/office/drawing/2014/main" id="{547E4261-38AE-4B39-AF94-3099314C441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350" y="-9525"/>
            <a:ext cx="12212638" cy="2660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6900" y="2736417"/>
            <a:ext cx="10363200" cy="1470661"/>
          </a:xfrm>
        </p:spPr>
        <p:txBody>
          <a:bodyPr/>
          <a:lstStyle>
            <a:lvl1pPr algn="l">
              <a:defRPr sz="4400" b="1" cap="none" baseline="0">
                <a:solidFill>
                  <a:srgbClr val="FFFFFF"/>
                </a:solidFill>
              </a:defRPr>
            </a:lvl1pPr>
          </a:lstStyle>
          <a:p>
            <a:r>
              <a:rPr lang="en-GB" noProof="0"/>
              <a:t>Click</a:t>
            </a:r>
            <a:r>
              <a:rPr lang="en-GB"/>
              <a:t>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6900" y="4407333"/>
            <a:ext cx="10363200" cy="669607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76220" indent="0">
              <a:buNone/>
              <a:defRPr sz="1875">
                <a:solidFill>
                  <a:schemeClr val="tx1">
                    <a:tint val="75000"/>
                  </a:schemeClr>
                </a:solidFill>
              </a:defRPr>
            </a:lvl2pPr>
            <a:lvl3pPr marL="952439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3pPr>
            <a:lvl4pPr marL="1428659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4pPr>
            <a:lvl5pPr marL="1904878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5pPr>
            <a:lvl6pPr marL="2381098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6pPr>
            <a:lvl7pPr marL="2857317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7pPr>
            <a:lvl8pPr marL="3333537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8pPr>
            <a:lvl9pPr marL="3809756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0"/>
          </p:nvPr>
        </p:nvSpPr>
        <p:spPr>
          <a:xfrm>
            <a:off x="596900" y="5289556"/>
            <a:ext cx="10363200" cy="669607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76220" indent="0">
              <a:buNone/>
              <a:defRPr sz="1875">
                <a:solidFill>
                  <a:schemeClr val="tx1">
                    <a:tint val="75000"/>
                  </a:schemeClr>
                </a:solidFill>
              </a:defRPr>
            </a:lvl2pPr>
            <a:lvl3pPr marL="952439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3pPr>
            <a:lvl4pPr marL="1428659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4pPr>
            <a:lvl5pPr marL="1904878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5pPr>
            <a:lvl6pPr marL="2381098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6pPr>
            <a:lvl7pPr marL="2857317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7pPr>
            <a:lvl8pPr marL="3333537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8pPr>
            <a:lvl9pPr marL="3809756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62098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02097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247" y="4406925"/>
            <a:ext cx="10363200" cy="1362075"/>
          </a:xfrm>
        </p:spPr>
        <p:txBody>
          <a:bodyPr anchor="t"/>
          <a:lstStyle>
            <a:lvl1pPr algn="l">
              <a:defRPr sz="4166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247" y="2906718"/>
            <a:ext cx="10363200" cy="1500187"/>
          </a:xfrm>
        </p:spPr>
        <p:txBody>
          <a:bodyPr anchor="b"/>
          <a:lstStyle>
            <a:lvl1pPr marL="0" indent="0">
              <a:buNone/>
              <a:defRPr sz="2083"/>
            </a:lvl1pPr>
            <a:lvl2pPr marL="476220" indent="0">
              <a:buNone/>
              <a:defRPr sz="1875"/>
            </a:lvl2pPr>
            <a:lvl3pPr marL="952439" indent="0">
              <a:buNone/>
              <a:defRPr sz="1667"/>
            </a:lvl3pPr>
            <a:lvl4pPr marL="1428659" indent="0">
              <a:buNone/>
              <a:defRPr sz="1458"/>
            </a:lvl4pPr>
            <a:lvl5pPr marL="1904878" indent="0">
              <a:buNone/>
              <a:defRPr sz="1458"/>
            </a:lvl5pPr>
            <a:lvl6pPr marL="2381098" indent="0">
              <a:buNone/>
              <a:defRPr sz="1458"/>
            </a:lvl6pPr>
            <a:lvl7pPr marL="2857317" indent="0">
              <a:buNone/>
              <a:defRPr sz="1458"/>
            </a:lvl7pPr>
            <a:lvl8pPr marL="3333537" indent="0">
              <a:buNone/>
              <a:defRPr sz="1458"/>
            </a:lvl8pPr>
            <a:lvl9pPr marL="3809756" indent="0">
              <a:buNone/>
              <a:defRPr sz="145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41556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32" y="1600225"/>
            <a:ext cx="5392615" cy="4525963"/>
          </a:xfrm>
        </p:spPr>
        <p:txBody>
          <a:bodyPr/>
          <a:lstStyle>
            <a:lvl1pPr>
              <a:defRPr sz="2916"/>
            </a:lvl1pPr>
            <a:lvl2pPr>
              <a:defRPr sz="2500"/>
            </a:lvl2pPr>
            <a:lvl3pPr>
              <a:defRPr sz="2083"/>
            </a:lvl3pPr>
            <a:lvl4pPr>
              <a:defRPr sz="1875"/>
            </a:lvl4pPr>
            <a:lvl5pPr>
              <a:defRPr sz="1875"/>
            </a:lvl5pPr>
            <a:lvl6pPr>
              <a:defRPr sz="1875"/>
            </a:lvl6pPr>
            <a:lvl7pPr>
              <a:defRPr sz="1875"/>
            </a:lvl7pPr>
            <a:lvl8pPr>
              <a:defRPr sz="1875"/>
            </a:lvl8pPr>
            <a:lvl9pPr>
              <a:defRPr sz="18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9816" y="1600225"/>
            <a:ext cx="5392615" cy="4525963"/>
          </a:xfrm>
        </p:spPr>
        <p:txBody>
          <a:bodyPr/>
          <a:lstStyle>
            <a:lvl1pPr>
              <a:defRPr sz="2916"/>
            </a:lvl1pPr>
            <a:lvl2pPr>
              <a:defRPr sz="2500"/>
            </a:lvl2pPr>
            <a:lvl3pPr>
              <a:defRPr sz="2083"/>
            </a:lvl3pPr>
            <a:lvl4pPr>
              <a:defRPr sz="1875"/>
            </a:lvl4pPr>
            <a:lvl5pPr>
              <a:defRPr sz="1875"/>
            </a:lvl5pPr>
            <a:lvl6pPr>
              <a:defRPr sz="1875"/>
            </a:lvl6pPr>
            <a:lvl7pPr>
              <a:defRPr sz="1875"/>
            </a:lvl7pPr>
            <a:lvl8pPr>
              <a:defRPr sz="1875"/>
            </a:lvl8pPr>
            <a:lvl9pPr>
              <a:defRPr sz="18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71158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2"/>
            <a:ext cx="5386755" cy="63976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6220" indent="0">
              <a:buNone/>
              <a:defRPr sz="2083" b="1"/>
            </a:lvl2pPr>
            <a:lvl3pPr marL="952439" indent="0">
              <a:buNone/>
              <a:defRPr sz="1875" b="1"/>
            </a:lvl3pPr>
            <a:lvl4pPr marL="1428659" indent="0">
              <a:buNone/>
              <a:defRPr sz="1667" b="1"/>
            </a:lvl4pPr>
            <a:lvl5pPr marL="1904878" indent="0">
              <a:buNone/>
              <a:defRPr sz="1667" b="1"/>
            </a:lvl5pPr>
            <a:lvl6pPr marL="2381098" indent="0">
              <a:buNone/>
              <a:defRPr sz="1667" b="1"/>
            </a:lvl6pPr>
            <a:lvl7pPr marL="2857317" indent="0">
              <a:buNone/>
              <a:defRPr sz="1667" b="1"/>
            </a:lvl7pPr>
            <a:lvl8pPr marL="3333537" indent="0">
              <a:buNone/>
              <a:defRPr sz="1667" b="1"/>
            </a:lvl8pPr>
            <a:lvl9pPr marL="3809756" indent="0">
              <a:buNone/>
              <a:defRPr sz="16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755" cy="3951288"/>
          </a:xfrm>
        </p:spPr>
        <p:txBody>
          <a:bodyPr/>
          <a:lstStyle>
            <a:lvl1pPr>
              <a:defRPr sz="2500"/>
            </a:lvl1pPr>
            <a:lvl2pPr>
              <a:defRPr sz="2083"/>
            </a:lvl2pPr>
            <a:lvl3pPr>
              <a:defRPr sz="1875"/>
            </a:lvl3pPr>
            <a:lvl4pPr>
              <a:defRPr sz="1667"/>
            </a:lvl4pPr>
            <a:lvl5pPr>
              <a:defRPr sz="1667"/>
            </a:lvl5pPr>
            <a:lvl6pPr>
              <a:defRPr sz="1667"/>
            </a:lvl6pPr>
            <a:lvl7pPr>
              <a:defRPr sz="1667"/>
            </a:lvl7pPr>
            <a:lvl8pPr>
              <a:defRPr sz="1667"/>
            </a:lvl8pPr>
            <a:lvl9pPr>
              <a:defRPr sz="1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695" y="1535112"/>
            <a:ext cx="5388708" cy="63976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6220" indent="0">
              <a:buNone/>
              <a:defRPr sz="2083" b="1"/>
            </a:lvl2pPr>
            <a:lvl3pPr marL="952439" indent="0">
              <a:buNone/>
              <a:defRPr sz="1875" b="1"/>
            </a:lvl3pPr>
            <a:lvl4pPr marL="1428659" indent="0">
              <a:buNone/>
              <a:defRPr sz="1667" b="1"/>
            </a:lvl4pPr>
            <a:lvl5pPr marL="1904878" indent="0">
              <a:buNone/>
              <a:defRPr sz="1667" b="1"/>
            </a:lvl5pPr>
            <a:lvl6pPr marL="2381098" indent="0">
              <a:buNone/>
              <a:defRPr sz="1667" b="1"/>
            </a:lvl6pPr>
            <a:lvl7pPr marL="2857317" indent="0">
              <a:buNone/>
              <a:defRPr sz="1667" b="1"/>
            </a:lvl7pPr>
            <a:lvl8pPr marL="3333537" indent="0">
              <a:buNone/>
              <a:defRPr sz="1667" b="1"/>
            </a:lvl8pPr>
            <a:lvl9pPr marL="3809756" indent="0">
              <a:buNone/>
              <a:defRPr sz="16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695" y="2174875"/>
            <a:ext cx="5388708" cy="3951288"/>
          </a:xfrm>
        </p:spPr>
        <p:txBody>
          <a:bodyPr/>
          <a:lstStyle>
            <a:lvl1pPr>
              <a:defRPr sz="2500"/>
            </a:lvl1pPr>
            <a:lvl2pPr>
              <a:defRPr sz="2083"/>
            </a:lvl2pPr>
            <a:lvl3pPr>
              <a:defRPr sz="1875"/>
            </a:lvl3pPr>
            <a:lvl4pPr>
              <a:defRPr sz="1667"/>
            </a:lvl4pPr>
            <a:lvl5pPr>
              <a:defRPr sz="1667"/>
            </a:lvl5pPr>
            <a:lvl6pPr>
              <a:defRPr sz="1667"/>
            </a:lvl6pPr>
            <a:lvl7pPr>
              <a:defRPr sz="1667"/>
            </a:lvl7pPr>
            <a:lvl8pPr>
              <a:defRPr sz="1667"/>
            </a:lvl8pPr>
            <a:lvl9pPr>
              <a:defRPr sz="1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10181" y="274519"/>
            <a:ext cx="9842856" cy="633377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GB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39550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47333"/>
            <a:ext cx="5386755" cy="639762"/>
          </a:xfrm>
          <a:ln>
            <a:solidFill>
              <a:srgbClr val="0071BB"/>
            </a:solidFill>
          </a:ln>
        </p:spPr>
        <p:txBody>
          <a:bodyPr anchor="ctr"/>
          <a:lstStyle>
            <a:lvl1pPr marL="0" indent="0" algn="ctr">
              <a:buNone/>
              <a:defRPr sz="2500" b="1"/>
            </a:lvl1pPr>
            <a:lvl2pPr marL="476220" indent="0">
              <a:buNone/>
              <a:defRPr sz="2083" b="1"/>
            </a:lvl2pPr>
            <a:lvl3pPr marL="952439" indent="0">
              <a:buNone/>
              <a:defRPr sz="1875" b="1"/>
            </a:lvl3pPr>
            <a:lvl4pPr marL="1428659" indent="0">
              <a:buNone/>
              <a:defRPr sz="1667" b="1"/>
            </a:lvl4pPr>
            <a:lvl5pPr marL="1904878" indent="0">
              <a:buNone/>
              <a:defRPr sz="1667" b="1"/>
            </a:lvl5pPr>
            <a:lvl6pPr marL="2381098" indent="0">
              <a:buNone/>
              <a:defRPr sz="1667" b="1"/>
            </a:lvl6pPr>
            <a:lvl7pPr marL="2857317" indent="0">
              <a:buNone/>
              <a:defRPr sz="1667" b="1"/>
            </a:lvl7pPr>
            <a:lvl8pPr marL="3333537" indent="0">
              <a:buNone/>
              <a:defRPr sz="1667" b="1"/>
            </a:lvl8pPr>
            <a:lvl9pPr marL="3809756" indent="0">
              <a:buNone/>
              <a:defRPr sz="16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755" cy="3951288"/>
          </a:xfrm>
          <a:ln>
            <a:solidFill>
              <a:srgbClr val="0071BB"/>
            </a:solidFill>
          </a:ln>
        </p:spPr>
        <p:txBody>
          <a:bodyPr/>
          <a:lstStyle>
            <a:lvl1pPr>
              <a:defRPr sz="2500"/>
            </a:lvl1pPr>
            <a:lvl2pPr>
              <a:defRPr sz="2083"/>
            </a:lvl2pPr>
            <a:lvl3pPr>
              <a:defRPr sz="1875"/>
            </a:lvl3pPr>
            <a:lvl4pPr>
              <a:defRPr sz="1667"/>
            </a:lvl4pPr>
            <a:lvl5pPr>
              <a:defRPr sz="1667"/>
            </a:lvl5pPr>
            <a:lvl6pPr>
              <a:defRPr sz="1667"/>
            </a:lvl6pPr>
            <a:lvl7pPr>
              <a:defRPr sz="1667"/>
            </a:lvl7pPr>
            <a:lvl8pPr>
              <a:defRPr sz="1667"/>
            </a:lvl8pPr>
            <a:lvl9pPr>
              <a:defRPr sz="1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695" y="1347333"/>
            <a:ext cx="5388708" cy="639762"/>
          </a:xfrm>
          <a:ln>
            <a:solidFill>
              <a:srgbClr val="0071BB"/>
            </a:solidFill>
          </a:ln>
        </p:spPr>
        <p:txBody>
          <a:bodyPr anchor="ctr"/>
          <a:lstStyle>
            <a:lvl1pPr marL="0" indent="0" algn="ctr">
              <a:buNone/>
              <a:defRPr sz="2500" b="1"/>
            </a:lvl1pPr>
            <a:lvl2pPr marL="476220" indent="0">
              <a:buNone/>
              <a:defRPr sz="2083" b="1"/>
            </a:lvl2pPr>
            <a:lvl3pPr marL="952439" indent="0">
              <a:buNone/>
              <a:defRPr sz="1875" b="1"/>
            </a:lvl3pPr>
            <a:lvl4pPr marL="1428659" indent="0">
              <a:buNone/>
              <a:defRPr sz="1667" b="1"/>
            </a:lvl4pPr>
            <a:lvl5pPr marL="1904878" indent="0">
              <a:buNone/>
              <a:defRPr sz="1667" b="1"/>
            </a:lvl5pPr>
            <a:lvl6pPr marL="2381098" indent="0">
              <a:buNone/>
              <a:defRPr sz="1667" b="1"/>
            </a:lvl6pPr>
            <a:lvl7pPr marL="2857317" indent="0">
              <a:buNone/>
              <a:defRPr sz="1667" b="1"/>
            </a:lvl7pPr>
            <a:lvl8pPr marL="3333537" indent="0">
              <a:buNone/>
              <a:defRPr sz="1667" b="1"/>
            </a:lvl8pPr>
            <a:lvl9pPr marL="3809756" indent="0">
              <a:buNone/>
              <a:defRPr sz="16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695" y="2174875"/>
            <a:ext cx="5388708" cy="3951288"/>
          </a:xfrm>
          <a:ln>
            <a:solidFill>
              <a:srgbClr val="0071BB"/>
            </a:solidFill>
          </a:ln>
        </p:spPr>
        <p:txBody>
          <a:bodyPr/>
          <a:lstStyle>
            <a:lvl1pPr>
              <a:defRPr sz="2500"/>
            </a:lvl1pPr>
            <a:lvl2pPr>
              <a:defRPr sz="2083"/>
            </a:lvl2pPr>
            <a:lvl3pPr>
              <a:defRPr sz="1875"/>
            </a:lvl3pPr>
            <a:lvl4pPr>
              <a:defRPr sz="1667"/>
            </a:lvl4pPr>
            <a:lvl5pPr>
              <a:defRPr sz="1667"/>
            </a:lvl5pPr>
            <a:lvl6pPr>
              <a:defRPr sz="1667"/>
            </a:lvl6pPr>
            <a:lvl7pPr>
              <a:defRPr sz="1667"/>
            </a:lvl7pPr>
            <a:lvl8pPr>
              <a:defRPr sz="1667"/>
            </a:lvl8pPr>
            <a:lvl9pPr>
              <a:defRPr sz="1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10181" y="274519"/>
            <a:ext cx="9842856" cy="633377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GB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191920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3633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>
            <a:extLst>
              <a:ext uri="{FF2B5EF4-FFF2-40B4-BE49-F238E27FC236}">
                <a16:creationId xmlns:a16="http://schemas.microsoft.com/office/drawing/2014/main" id="{AD6F68DC-4B7E-43FD-BE41-37A8422C2A8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719138"/>
            <a:ext cx="12192000" cy="3508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4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4193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EA4099-D6DA-FC4D-8647-04E6669BD8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D93880-D2A4-214D-A793-A839A48283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E952AE-D545-AB4D-8B1D-815B12603C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F8977-2BF9-5049-ABDF-5531E86C8FAF}" type="datetimeFigureOut">
              <a:rPr lang="en-GB" smtClean="0"/>
              <a:t>08/02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8FC7C8-9A7D-B94A-A64A-A46DD8CE00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DDB420-8D26-3B45-8FD2-614017BCCD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9411B2-EAC1-5543-9471-EF8DAB78A27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32679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557" y="4800600"/>
            <a:ext cx="7315200" cy="566738"/>
          </a:xfrm>
        </p:spPr>
        <p:txBody>
          <a:bodyPr anchor="b"/>
          <a:lstStyle>
            <a:lvl1pPr algn="l">
              <a:defRPr sz="2083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557" y="612775"/>
            <a:ext cx="7315200" cy="4114800"/>
          </a:xfrm>
        </p:spPr>
        <p:txBody>
          <a:bodyPr/>
          <a:lstStyle>
            <a:lvl1pPr marL="0" indent="0">
              <a:buNone/>
              <a:defRPr sz="3333"/>
            </a:lvl1pPr>
            <a:lvl2pPr marL="476220" indent="0">
              <a:buNone/>
              <a:defRPr sz="2916"/>
            </a:lvl2pPr>
            <a:lvl3pPr marL="952439" indent="0">
              <a:buNone/>
              <a:defRPr sz="2500"/>
            </a:lvl3pPr>
            <a:lvl4pPr marL="1428659" indent="0">
              <a:buNone/>
              <a:defRPr sz="2083"/>
            </a:lvl4pPr>
            <a:lvl5pPr marL="1904878" indent="0">
              <a:buNone/>
              <a:defRPr sz="2083"/>
            </a:lvl5pPr>
            <a:lvl6pPr marL="2381098" indent="0">
              <a:buNone/>
              <a:defRPr sz="2083"/>
            </a:lvl6pPr>
            <a:lvl7pPr marL="2857317" indent="0">
              <a:buNone/>
              <a:defRPr sz="2083"/>
            </a:lvl7pPr>
            <a:lvl8pPr marL="3333537" indent="0">
              <a:buNone/>
              <a:defRPr sz="2083"/>
            </a:lvl8pPr>
            <a:lvl9pPr marL="3809756" indent="0">
              <a:buNone/>
              <a:defRPr sz="2083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557" y="5367338"/>
            <a:ext cx="7315200" cy="804862"/>
          </a:xfrm>
        </p:spPr>
        <p:txBody>
          <a:bodyPr/>
          <a:lstStyle>
            <a:lvl1pPr marL="0" indent="0">
              <a:buNone/>
              <a:defRPr sz="1458"/>
            </a:lvl1pPr>
            <a:lvl2pPr marL="476220" indent="0">
              <a:buNone/>
              <a:defRPr sz="1250"/>
            </a:lvl2pPr>
            <a:lvl3pPr marL="952439" indent="0">
              <a:buNone/>
              <a:defRPr sz="1042"/>
            </a:lvl3pPr>
            <a:lvl4pPr marL="1428659" indent="0">
              <a:buNone/>
              <a:defRPr sz="937"/>
            </a:lvl4pPr>
            <a:lvl5pPr marL="1904878" indent="0">
              <a:buNone/>
              <a:defRPr sz="937"/>
            </a:lvl5pPr>
            <a:lvl6pPr marL="2381098" indent="0">
              <a:buNone/>
              <a:defRPr sz="937"/>
            </a:lvl6pPr>
            <a:lvl7pPr marL="2857317" indent="0">
              <a:buNone/>
              <a:defRPr sz="937"/>
            </a:lvl7pPr>
            <a:lvl8pPr marL="3333537" indent="0">
              <a:buNone/>
              <a:defRPr sz="937"/>
            </a:lvl8pPr>
            <a:lvl9pPr marL="3809756" indent="0">
              <a:buNone/>
              <a:defRPr sz="93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42315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9">
            <a:extLst>
              <a:ext uri="{FF2B5EF4-FFF2-40B4-BE49-F238E27FC236}">
                <a16:creationId xmlns:a16="http://schemas.microsoft.com/office/drawing/2014/main" id="{49B5C696-A4CA-4529-8500-3577AF8295A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719138"/>
            <a:ext cx="12192000" cy="3508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4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09600" y="274638"/>
            <a:ext cx="10972800" cy="58515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7207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180" y="274519"/>
            <a:ext cx="10971641" cy="63337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10180" y="1600806"/>
            <a:ext cx="10971641" cy="4524593"/>
          </a:xfrm>
        </p:spPr>
        <p:txBody>
          <a:bodyPr/>
          <a:lstStyle/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0024767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1D4329-C3C4-4EFA-8CD1-E9E9CAEF331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 defTabSz="914400"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3C3DF0-91AF-4254-AC98-3A7E9F3D54DD}" type="datetimeFigureOut"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/02/2022</a:t>
            </a:fld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56041E-0B19-4E49-9E7C-771CCEA37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 defTabSz="914400"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A15C6E-D66C-41DB-B020-DDB3FBE828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/>
          <a:lstStyle>
            <a:lvl1pPr defTabSz="914400"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FCE03F-C95D-425B-B707-A5974E6B047F}" type="slidenum"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84272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9" hidden="1">
            <a:extLst>
              <a:ext uri="{FF2B5EF4-FFF2-40B4-BE49-F238E27FC236}">
                <a16:creationId xmlns:a16="http://schemas.microsoft.com/office/drawing/2014/main" id="{B280D861-3779-4186-91D7-A0F3064FC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9" hidden="1">
                        <a:extLst>
                          <a:ext uri="{FF2B5EF4-FFF2-40B4-BE49-F238E27FC236}">
                            <a16:creationId xmlns:a16="http://schemas.microsoft.com/office/drawing/2014/main" id="{B280D861-3779-4186-91D7-A0F3064FC29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10EF8F9-CDBD-45BB-AF4C-0C4B7C444F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GB" sz="2999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1ACA8456-035D-4317-8319-BAE9FDDA08C0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9225"/>
            <a:ext cx="325438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609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609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6096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C53E027-E3C1-4AC2-B117-1933C1DC606A}" type="slidenum">
              <a:rPr kumimoji="0" lang="en-GB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6096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2. Slide Title"/>
          <p:cNvSpPr>
            <a:spLocks noGrp="1"/>
          </p:cNvSpPr>
          <p:nvPr>
            <p:ph type="title"/>
          </p:nvPr>
        </p:nvSpPr>
        <p:spPr>
          <a:xfrm>
            <a:off x="554737" y="172212"/>
            <a:ext cx="9082054" cy="731520"/>
          </a:xfrm>
        </p:spPr>
        <p:txBody>
          <a:bodyPr/>
          <a:lstStyle>
            <a:lvl1pPr>
              <a:defRPr sz="2999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1. On-page tracker"/>
          <p:cNvSpPr>
            <a:spLocks noGrp="1"/>
          </p:cNvSpPr>
          <p:nvPr>
            <p:ph type="body" sz="quarter" idx="16"/>
          </p:nvPr>
        </p:nvSpPr>
        <p:spPr>
          <a:xfrm>
            <a:off x="7159752" y="104713"/>
            <a:ext cx="4480560" cy="92333"/>
          </a:xfrm>
        </p:spPr>
        <p:txBody>
          <a:bodyPr lIns="0" tIns="0" rIns="0" bIns="0" rtlCol="0" anchor="ctr">
            <a:spAutoFit/>
          </a:bodyPr>
          <a:lstStyle>
            <a:lvl1pPr algn="r">
              <a:defRPr lang="en-US" sz="600" dirty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3. Subtitle"/>
          <p:cNvSpPr>
            <a:spLocks noGrp="1"/>
          </p:cNvSpPr>
          <p:nvPr>
            <p:ph type="subTitle" idx="1"/>
          </p:nvPr>
        </p:nvSpPr>
        <p:spPr>
          <a:xfrm>
            <a:off x="554737" y="884725"/>
            <a:ext cx="9082054" cy="276999"/>
          </a:xfrm>
        </p:spPr>
        <p:txBody>
          <a:bodyPr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706" indent="0" algn="ctr">
              <a:buNone/>
              <a:defRPr sz="1500"/>
            </a:lvl2pPr>
            <a:lvl3pPr marL="685411" indent="0" algn="ctr">
              <a:buNone/>
              <a:defRPr sz="1350"/>
            </a:lvl3pPr>
            <a:lvl4pPr marL="1028117" indent="0" algn="ctr">
              <a:buNone/>
              <a:defRPr sz="1200"/>
            </a:lvl4pPr>
            <a:lvl5pPr marL="1370823" indent="0" algn="ctr">
              <a:buNone/>
              <a:defRPr sz="1200"/>
            </a:lvl5pPr>
            <a:lvl6pPr marL="1713529" indent="0" algn="ctr">
              <a:buNone/>
              <a:defRPr sz="1200"/>
            </a:lvl6pPr>
            <a:lvl7pPr marL="2056234" indent="0" algn="ctr">
              <a:buNone/>
              <a:defRPr sz="1200"/>
            </a:lvl7pPr>
            <a:lvl8pPr marL="2398940" indent="0" algn="ctr">
              <a:buNone/>
              <a:defRPr sz="1200"/>
            </a:lvl8pPr>
            <a:lvl9pPr marL="2741645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154240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lternative title slide">
    <p:bg>
      <p:bgPr>
        <a:gradFill rotWithShape="1">
          <a:gsLst>
            <a:gs pos="0">
              <a:srgbClr val="0091C9"/>
            </a:gs>
            <a:gs pos="60001">
              <a:srgbClr val="0072C6"/>
            </a:gs>
            <a:gs pos="100000">
              <a:srgbClr val="00389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7">
            <a:extLst>
              <a:ext uri="{FF2B5EF4-FFF2-40B4-BE49-F238E27FC236}">
                <a16:creationId xmlns:a16="http://schemas.microsoft.com/office/drawing/2014/main" id="{C007B1DF-6614-460F-A59D-BDBAE48CD6D5}"/>
              </a:ext>
            </a:extLst>
          </p:cNvPr>
          <p:cNvSpPr/>
          <p:nvPr/>
        </p:nvSpPr>
        <p:spPr>
          <a:xfrm>
            <a:off x="-6350" y="-9525"/>
            <a:ext cx="12212638" cy="2019300"/>
          </a:xfrm>
          <a:custGeom>
            <a:avLst/>
            <a:gdLst>
              <a:gd name="connsiteX0" fmla="*/ 0 w 9262587"/>
              <a:gd name="connsiteY0" fmla="*/ 1836110 h 2121727"/>
              <a:gd name="connsiteX1" fmla="*/ 1168024 w 9262587"/>
              <a:gd name="connsiteY1" fmla="*/ 1581095 h 2121727"/>
              <a:gd name="connsiteX2" fmla="*/ 1994312 w 9262587"/>
              <a:gd name="connsiteY2" fmla="*/ 1535192 h 2121727"/>
              <a:gd name="connsiteX3" fmla="*/ 2693087 w 9262587"/>
              <a:gd name="connsiteY3" fmla="*/ 1550493 h 2121727"/>
              <a:gd name="connsiteX4" fmla="*/ 4141641 w 9262587"/>
              <a:gd name="connsiteY4" fmla="*/ 1831010 h 2121727"/>
              <a:gd name="connsiteX5" fmla="*/ 5212756 w 9262587"/>
              <a:gd name="connsiteY5" fmla="*/ 2075824 h 2121727"/>
              <a:gd name="connsiteX6" fmla="*/ 7043851 w 9262587"/>
              <a:gd name="connsiteY6" fmla="*/ 2121727 h 2121727"/>
              <a:gd name="connsiteX7" fmla="*/ 8844343 w 9262587"/>
              <a:gd name="connsiteY7" fmla="*/ 1866712 h 2121727"/>
              <a:gd name="connsiteX8" fmla="*/ 9262587 w 9262587"/>
              <a:gd name="connsiteY8" fmla="*/ 1611696 h 2121727"/>
              <a:gd name="connsiteX9" fmla="*/ 9221783 w 9262587"/>
              <a:gd name="connsiteY9" fmla="*/ 0 h 2121727"/>
              <a:gd name="connsiteX10" fmla="*/ 20402 w 9262587"/>
              <a:gd name="connsiteY10" fmla="*/ 40802 h 2121727"/>
              <a:gd name="connsiteX11" fmla="*/ 0 w 9262587"/>
              <a:gd name="connsiteY11" fmla="*/ 1836110 h 2121727"/>
              <a:gd name="connsiteX0" fmla="*/ 0 w 9221783"/>
              <a:gd name="connsiteY0" fmla="*/ 1836110 h 2121727"/>
              <a:gd name="connsiteX1" fmla="*/ 1168024 w 9221783"/>
              <a:gd name="connsiteY1" fmla="*/ 1581095 h 2121727"/>
              <a:gd name="connsiteX2" fmla="*/ 1994312 w 9221783"/>
              <a:gd name="connsiteY2" fmla="*/ 1535192 h 2121727"/>
              <a:gd name="connsiteX3" fmla="*/ 2693087 w 9221783"/>
              <a:gd name="connsiteY3" fmla="*/ 1550493 h 2121727"/>
              <a:gd name="connsiteX4" fmla="*/ 4141641 w 9221783"/>
              <a:gd name="connsiteY4" fmla="*/ 1831010 h 2121727"/>
              <a:gd name="connsiteX5" fmla="*/ 5212756 w 9221783"/>
              <a:gd name="connsiteY5" fmla="*/ 2075824 h 2121727"/>
              <a:gd name="connsiteX6" fmla="*/ 7043851 w 9221783"/>
              <a:gd name="connsiteY6" fmla="*/ 2121727 h 2121727"/>
              <a:gd name="connsiteX7" fmla="*/ 8844343 w 9221783"/>
              <a:gd name="connsiteY7" fmla="*/ 1866712 h 2121727"/>
              <a:gd name="connsiteX8" fmla="*/ 9170777 w 9221783"/>
              <a:gd name="connsiteY8" fmla="*/ 1662699 h 2121727"/>
              <a:gd name="connsiteX9" fmla="*/ 9221783 w 9221783"/>
              <a:gd name="connsiteY9" fmla="*/ 0 h 2121727"/>
              <a:gd name="connsiteX10" fmla="*/ 20402 w 9221783"/>
              <a:gd name="connsiteY10" fmla="*/ 40802 h 2121727"/>
              <a:gd name="connsiteX11" fmla="*/ 0 w 9221783"/>
              <a:gd name="connsiteY11" fmla="*/ 1836110 h 2121727"/>
              <a:gd name="connsiteX0" fmla="*/ 0 w 9170777"/>
              <a:gd name="connsiteY0" fmla="*/ 1795308 h 2080925"/>
              <a:gd name="connsiteX1" fmla="*/ 1168024 w 9170777"/>
              <a:gd name="connsiteY1" fmla="*/ 1540293 h 2080925"/>
              <a:gd name="connsiteX2" fmla="*/ 1994312 w 9170777"/>
              <a:gd name="connsiteY2" fmla="*/ 1494390 h 2080925"/>
              <a:gd name="connsiteX3" fmla="*/ 2693087 w 9170777"/>
              <a:gd name="connsiteY3" fmla="*/ 1509691 h 2080925"/>
              <a:gd name="connsiteX4" fmla="*/ 4141641 w 9170777"/>
              <a:gd name="connsiteY4" fmla="*/ 1790208 h 2080925"/>
              <a:gd name="connsiteX5" fmla="*/ 5212756 w 9170777"/>
              <a:gd name="connsiteY5" fmla="*/ 2035022 h 2080925"/>
              <a:gd name="connsiteX6" fmla="*/ 7043851 w 9170777"/>
              <a:gd name="connsiteY6" fmla="*/ 2080925 h 2080925"/>
              <a:gd name="connsiteX7" fmla="*/ 8844343 w 9170777"/>
              <a:gd name="connsiteY7" fmla="*/ 1825910 h 2080925"/>
              <a:gd name="connsiteX8" fmla="*/ 9170777 w 9170777"/>
              <a:gd name="connsiteY8" fmla="*/ 1621897 h 2080925"/>
              <a:gd name="connsiteX9" fmla="*/ 9119772 w 9170777"/>
              <a:gd name="connsiteY9" fmla="*/ 61204 h 2080925"/>
              <a:gd name="connsiteX10" fmla="*/ 20402 w 9170777"/>
              <a:gd name="connsiteY10" fmla="*/ 0 h 2080925"/>
              <a:gd name="connsiteX11" fmla="*/ 0 w 9170777"/>
              <a:gd name="connsiteY11" fmla="*/ 1795308 h 2080925"/>
              <a:gd name="connsiteX0" fmla="*/ 0 w 9170777"/>
              <a:gd name="connsiteY0" fmla="*/ 1795308 h 2080925"/>
              <a:gd name="connsiteX1" fmla="*/ 1168024 w 9170777"/>
              <a:gd name="connsiteY1" fmla="*/ 1540293 h 2080925"/>
              <a:gd name="connsiteX2" fmla="*/ 1994312 w 9170777"/>
              <a:gd name="connsiteY2" fmla="*/ 1494390 h 2080925"/>
              <a:gd name="connsiteX3" fmla="*/ 2693087 w 9170777"/>
              <a:gd name="connsiteY3" fmla="*/ 1509691 h 2080925"/>
              <a:gd name="connsiteX4" fmla="*/ 4141641 w 9170777"/>
              <a:gd name="connsiteY4" fmla="*/ 1790208 h 2080925"/>
              <a:gd name="connsiteX5" fmla="*/ 5212756 w 9170777"/>
              <a:gd name="connsiteY5" fmla="*/ 2035022 h 2080925"/>
              <a:gd name="connsiteX6" fmla="*/ 7043851 w 9170777"/>
              <a:gd name="connsiteY6" fmla="*/ 2080925 h 2080925"/>
              <a:gd name="connsiteX7" fmla="*/ 8844343 w 9170777"/>
              <a:gd name="connsiteY7" fmla="*/ 1825910 h 2080925"/>
              <a:gd name="connsiteX8" fmla="*/ 9170777 w 9170777"/>
              <a:gd name="connsiteY8" fmla="*/ 1621897 h 2080925"/>
              <a:gd name="connsiteX9" fmla="*/ 9119772 w 9170777"/>
              <a:gd name="connsiteY9" fmla="*/ 61204 h 2080925"/>
              <a:gd name="connsiteX10" fmla="*/ 20402 w 9170777"/>
              <a:gd name="connsiteY10" fmla="*/ 0 h 2080925"/>
              <a:gd name="connsiteX11" fmla="*/ 0 w 9170777"/>
              <a:gd name="connsiteY11" fmla="*/ 1795308 h 2080925"/>
              <a:gd name="connsiteX0" fmla="*/ 0 w 9119859"/>
              <a:gd name="connsiteY0" fmla="*/ 1795308 h 2080925"/>
              <a:gd name="connsiteX1" fmla="*/ 1168024 w 9119859"/>
              <a:gd name="connsiteY1" fmla="*/ 1540293 h 2080925"/>
              <a:gd name="connsiteX2" fmla="*/ 1994312 w 9119859"/>
              <a:gd name="connsiteY2" fmla="*/ 1494390 h 2080925"/>
              <a:gd name="connsiteX3" fmla="*/ 2693087 w 9119859"/>
              <a:gd name="connsiteY3" fmla="*/ 1509691 h 2080925"/>
              <a:gd name="connsiteX4" fmla="*/ 4141641 w 9119859"/>
              <a:gd name="connsiteY4" fmla="*/ 1790208 h 2080925"/>
              <a:gd name="connsiteX5" fmla="*/ 5212756 w 9119859"/>
              <a:gd name="connsiteY5" fmla="*/ 2035022 h 2080925"/>
              <a:gd name="connsiteX6" fmla="*/ 7043851 w 9119859"/>
              <a:gd name="connsiteY6" fmla="*/ 2080925 h 2080925"/>
              <a:gd name="connsiteX7" fmla="*/ 8844343 w 9119859"/>
              <a:gd name="connsiteY7" fmla="*/ 1825910 h 2080925"/>
              <a:gd name="connsiteX8" fmla="*/ 9114671 w 9119859"/>
              <a:gd name="connsiteY8" fmla="*/ 1667800 h 2080925"/>
              <a:gd name="connsiteX9" fmla="*/ 9119772 w 9119859"/>
              <a:gd name="connsiteY9" fmla="*/ 61204 h 2080925"/>
              <a:gd name="connsiteX10" fmla="*/ 20402 w 9119859"/>
              <a:gd name="connsiteY10" fmla="*/ 0 h 2080925"/>
              <a:gd name="connsiteX11" fmla="*/ 0 w 9119859"/>
              <a:gd name="connsiteY11" fmla="*/ 1795308 h 2080925"/>
              <a:gd name="connsiteX0" fmla="*/ 0 w 9120224"/>
              <a:gd name="connsiteY0" fmla="*/ 1795308 h 2080925"/>
              <a:gd name="connsiteX1" fmla="*/ 1168024 w 9120224"/>
              <a:gd name="connsiteY1" fmla="*/ 1540293 h 2080925"/>
              <a:gd name="connsiteX2" fmla="*/ 1994312 w 9120224"/>
              <a:gd name="connsiteY2" fmla="*/ 1494390 h 2080925"/>
              <a:gd name="connsiteX3" fmla="*/ 2693087 w 9120224"/>
              <a:gd name="connsiteY3" fmla="*/ 1509691 h 2080925"/>
              <a:gd name="connsiteX4" fmla="*/ 4141641 w 9120224"/>
              <a:gd name="connsiteY4" fmla="*/ 1790208 h 2080925"/>
              <a:gd name="connsiteX5" fmla="*/ 5212756 w 9120224"/>
              <a:gd name="connsiteY5" fmla="*/ 2035022 h 2080925"/>
              <a:gd name="connsiteX6" fmla="*/ 7043851 w 9120224"/>
              <a:gd name="connsiteY6" fmla="*/ 2080925 h 2080925"/>
              <a:gd name="connsiteX7" fmla="*/ 8844343 w 9120224"/>
              <a:gd name="connsiteY7" fmla="*/ 1825910 h 2080925"/>
              <a:gd name="connsiteX8" fmla="*/ 9114671 w 9120224"/>
              <a:gd name="connsiteY8" fmla="*/ 1667800 h 2080925"/>
              <a:gd name="connsiteX9" fmla="*/ 9119772 w 9120224"/>
              <a:gd name="connsiteY9" fmla="*/ 61204 h 2080925"/>
              <a:gd name="connsiteX10" fmla="*/ 20402 w 9120224"/>
              <a:gd name="connsiteY10" fmla="*/ 0 h 2080925"/>
              <a:gd name="connsiteX11" fmla="*/ 0 w 9120224"/>
              <a:gd name="connsiteY11" fmla="*/ 1795308 h 2080925"/>
              <a:gd name="connsiteX0" fmla="*/ 40949 w 9161173"/>
              <a:gd name="connsiteY0" fmla="*/ 1734116 h 2019733"/>
              <a:gd name="connsiteX1" fmla="*/ 1208973 w 9161173"/>
              <a:gd name="connsiteY1" fmla="*/ 1479101 h 2019733"/>
              <a:gd name="connsiteX2" fmla="*/ 2035261 w 9161173"/>
              <a:gd name="connsiteY2" fmla="*/ 1433198 h 2019733"/>
              <a:gd name="connsiteX3" fmla="*/ 2734036 w 9161173"/>
              <a:gd name="connsiteY3" fmla="*/ 1448499 h 2019733"/>
              <a:gd name="connsiteX4" fmla="*/ 4182590 w 9161173"/>
              <a:gd name="connsiteY4" fmla="*/ 1729016 h 2019733"/>
              <a:gd name="connsiteX5" fmla="*/ 5253705 w 9161173"/>
              <a:gd name="connsiteY5" fmla="*/ 1973830 h 2019733"/>
              <a:gd name="connsiteX6" fmla="*/ 7084800 w 9161173"/>
              <a:gd name="connsiteY6" fmla="*/ 2019733 h 2019733"/>
              <a:gd name="connsiteX7" fmla="*/ 8885292 w 9161173"/>
              <a:gd name="connsiteY7" fmla="*/ 1764718 h 2019733"/>
              <a:gd name="connsiteX8" fmla="*/ 9155620 w 9161173"/>
              <a:gd name="connsiteY8" fmla="*/ 1606608 h 2019733"/>
              <a:gd name="connsiteX9" fmla="*/ 9160721 w 9161173"/>
              <a:gd name="connsiteY9" fmla="*/ 12 h 2019733"/>
              <a:gd name="connsiteX10" fmla="*/ 144 w 9161173"/>
              <a:gd name="connsiteY10" fmla="*/ 35714 h 2019733"/>
              <a:gd name="connsiteX11" fmla="*/ 40949 w 9161173"/>
              <a:gd name="connsiteY11" fmla="*/ 1734116 h 2019733"/>
              <a:gd name="connsiteX0" fmla="*/ 40805 w 9161029"/>
              <a:gd name="connsiteY0" fmla="*/ 17341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35714 h 2019733"/>
              <a:gd name="connsiteX11" fmla="*/ 40805 w 9161029"/>
              <a:gd name="connsiteY11" fmla="*/ 17341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35714 h 2019733"/>
              <a:gd name="connsiteX11" fmla="*/ 0 w 9161029"/>
              <a:gd name="connsiteY11" fmla="*/ 17392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35714 h 2019733"/>
              <a:gd name="connsiteX11" fmla="*/ 0 w 9161029"/>
              <a:gd name="connsiteY11" fmla="*/ 17392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2639 h 2019733"/>
              <a:gd name="connsiteX11" fmla="*/ 0 w 9161029"/>
              <a:gd name="connsiteY11" fmla="*/ 17392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2639 h 2019733"/>
              <a:gd name="connsiteX11" fmla="*/ 0 w 9161029"/>
              <a:gd name="connsiteY11" fmla="*/ 17392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2639 h 2019733"/>
              <a:gd name="connsiteX11" fmla="*/ 0 w 9161029"/>
              <a:gd name="connsiteY11" fmla="*/ 1739216 h 2019733"/>
              <a:gd name="connsiteX0" fmla="*/ 8028 w 9169057"/>
              <a:gd name="connsiteY0" fmla="*/ 1739216 h 2019733"/>
              <a:gd name="connsiteX1" fmla="*/ 1216857 w 9169057"/>
              <a:gd name="connsiteY1" fmla="*/ 1479101 h 2019733"/>
              <a:gd name="connsiteX2" fmla="*/ 2043145 w 9169057"/>
              <a:gd name="connsiteY2" fmla="*/ 1433198 h 2019733"/>
              <a:gd name="connsiteX3" fmla="*/ 2741920 w 9169057"/>
              <a:gd name="connsiteY3" fmla="*/ 1448499 h 2019733"/>
              <a:gd name="connsiteX4" fmla="*/ 4190474 w 9169057"/>
              <a:gd name="connsiteY4" fmla="*/ 1729016 h 2019733"/>
              <a:gd name="connsiteX5" fmla="*/ 5261589 w 9169057"/>
              <a:gd name="connsiteY5" fmla="*/ 1973830 h 2019733"/>
              <a:gd name="connsiteX6" fmla="*/ 7092684 w 9169057"/>
              <a:gd name="connsiteY6" fmla="*/ 2019733 h 2019733"/>
              <a:gd name="connsiteX7" fmla="*/ 8893176 w 9169057"/>
              <a:gd name="connsiteY7" fmla="*/ 1764718 h 2019733"/>
              <a:gd name="connsiteX8" fmla="*/ 9163504 w 9169057"/>
              <a:gd name="connsiteY8" fmla="*/ 1606608 h 2019733"/>
              <a:gd name="connsiteX9" fmla="*/ 9168605 w 9169057"/>
              <a:gd name="connsiteY9" fmla="*/ 12 h 2019733"/>
              <a:gd name="connsiteX10" fmla="*/ 8028 w 9169057"/>
              <a:gd name="connsiteY10" fmla="*/ 2639 h 2019733"/>
              <a:gd name="connsiteX11" fmla="*/ 8028 w 9169057"/>
              <a:gd name="connsiteY11" fmla="*/ 1739216 h 2019733"/>
              <a:gd name="connsiteX0" fmla="*/ 737673 w 9898702"/>
              <a:gd name="connsiteY0" fmla="*/ 1739216 h 2019733"/>
              <a:gd name="connsiteX1" fmla="*/ 1946502 w 9898702"/>
              <a:gd name="connsiteY1" fmla="*/ 1479101 h 2019733"/>
              <a:gd name="connsiteX2" fmla="*/ 2772790 w 9898702"/>
              <a:gd name="connsiteY2" fmla="*/ 1433198 h 2019733"/>
              <a:gd name="connsiteX3" fmla="*/ 3471565 w 9898702"/>
              <a:gd name="connsiteY3" fmla="*/ 1448499 h 2019733"/>
              <a:gd name="connsiteX4" fmla="*/ 4920119 w 9898702"/>
              <a:gd name="connsiteY4" fmla="*/ 1729016 h 2019733"/>
              <a:gd name="connsiteX5" fmla="*/ 5991234 w 9898702"/>
              <a:gd name="connsiteY5" fmla="*/ 1973830 h 2019733"/>
              <a:gd name="connsiteX6" fmla="*/ 7822329 w 9898702"/>
              <a:gd name="connsiteY6" fmla="*/ 2019733 h 2019733"/>
              <a:gd name="connsiteX7" fmla="*/ 9622821 w 9898702"/>
              <a:gd name="connsiteY7" fmla="*/ 1764718 h 2019733"/>
              <a:gd name="connsiteX8" fmla="*/ 9893149 w 9898702"/>
              <a:gd name="connsiteY8" fmla="*/ 1606608 h 2019733"/>
              <a:gd name="connsiteX9" fmla="*/ 9898250 w 9898702"/>
              <a:gd name="connsiteY9" fmla="*/ 12 h 2019733"/>
              <a:gd name="connsiteX10" fmla="*/ 737673 w 9898702"/>
              <a:gd name="connsiteY10" fmla="*/ 2639 h 2019733"/>
              <a:gd name="connsiteX11" fmla="*/ 737673 w 9898702"/>
              <a:gd name="connsiteY11" fmla="*/ 1739216 h 2019733"/>
              <a:gd name="connsiteX0" fmla="*/ 753082 w 9914111"/>
              <a:gd name="connsiteY0" fmla="*/ 1739216 h 2019733"/>
              <a:gd name="connsiteX1" fmla="*/ 1961911 w 9914111"/>
              <a:gd name="connsiteY1" fmla="*/ 1479101 h 2019733"/>
              <a:gd name="connsiteX2" fmla="*/ 2788199 w 9914111"/>
              <a:gd name="connsiteY2" fmla="*/ 1433198 h 2019733"/>
              <a:gd name="connsiteX3" fmla="*/ 3486974 w 9914111"/>
              <a:gd name="connsiteY3" fmla="*/ 1448499 h 2019733"/>
              <a:gd name="connsiteX4" fmla="*/ 4935528 w 9914111"/>
              <a:gd name="connsiteY4" fmla="*/ 1729016 h 2019733"/>
              <a:gd name="connsiteX5" fmla="*/ 6006643 w 9914111"/>
              <a:gd name="connsiteY5" fmla="*/ 1973830 h 2019733"/>
              <a:gd name="connsiteX6" fmla="*/ 7837738 w 9914111"/>
              <a:gd name="connsiteY6" fmla="*/ 2019733 h 2019733"/>
              <a:gd name="connsiteX7" fmla="*/ 9638230 w 9914111"/>
              <a:gd name="connsiteY7" fmla="*/ 1764718 h 2019733"/>
              <a:gd name="connsiteX8" fmla="*/ 9908558 w 9914111"/>
              <a:gd name="connsiteY8" fmla="*/ 1606608 h 2019733"/>
              <a:gd name="connsiteX9" fmla="*/ 9913659 w 9914111"/>
              <a:gd name="connsiteY9" fmla="*/ 12 h 2019733"/>
              <a:gd name="connsiteX10" fmla="*/ 753082 w 9914111"/>
              <a:gd name="connsiteY10" fmla="*/ 2639 h 2019733"/>
              <a:gd name="connsiteX11" fmla="*/ 753082 w 9914111"/>
              <a:gd name="connsiteY11" fmla="*/ 1739216 h 2019733"/>
              <a:gd name="connsiteX0" fmla="*/ 678562 w 9839591"/>
              <a:gd name="connsiteY0" fmla="*/ 1739216 h 2019733"/>
              <a:gd name="connsiteX1" fmla="*/ 1887391 w 9839591"/>
              <a:gd name="connsiteY1" fmla="*/ 1479101 h 2019733"/>
              <a:gd name="connsiteX2" fmla="*/ 2713679 w 9839591"/>
              <a:gd name="connsiteY2" fmla="*/ 1433198 h 2019733"/>
              <a:gd name="connsiteX3" fmla="*/ 3412454 w 9839591"/>
              <a:gd name="connsiteY3" fmla="*/ 1448499 h 2019733"/>
              <a:gd name="connsiteX4" fmla="*/ 4861008 w 9839591"/>
              <a:gd name="connsiteY4" fmla="*/ 1729016 h 2019733"/>
              <a:gd name="connsiteX5" fmla="*/ 5932123 w 9839591"/>
              <a:gd name="connsiteY5" fmla="*/ 1973830 h 2019733"/>
              <a:gd name="connsiteX6" fmla="*/ 7763218 w 9839591"/>
              <a:gd name="connsiteY6" fmla="*/ 2019733 h 2019733"/>
              <a:gd name="connsiteX7" fmla="*/ 9563710 w 9839591"/>
              <a:gd name="connsiteY7" fmla="*/ 1764718 h 2019733"/>
              <a:gd name="connsiteX8" fmla="*/ 9834038 w 9839591"/>
              <a:gd name="connsiteY8" fmla="*/ 1606608 h 2019733"/>
              <a:gd name="connsiteX9" fmla="*/ 9839139 w 9839591"/>
              <a:gd name="connsiteY9" fmla="*/ 12 h 2019733"/>
              <a:gd name="connsiteX10" fmla="*/ 678562 w 9839591"/>
              <a:gd name="connsiteY10" fmla="*/ 2639 h 2019733"/>
              <a:gd name="connsiteX11" fmla="*/ 678562 w 9839591"/>
              <a:gd name="connsiteY11" fmla="*/ 17392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2639 h 2019733"/>
              <a:gd name="connsiteX11" fmla="*/ 0 w 9161029"/>
              <a:gd name="connsiteY11" fmla="*/ 1739216 h 2019733"/>
              <a:gd name="connsiteX0" fmla="*/ 0 w 9160577"/>
              <a:gd name="connsiteY0" fmla="*/ 1739204 h 2019721"/>
              <a:gd name="connsiteX1" fmla="*/ 1208829 w 9160577"/>
              <a:gd name="connsiteY1" fmla="*/ 1479089 h 2019721"/>
              <a:gd name="connsiteX2" fmla="*/ 2035117 w 9160577"/>
              <a:gd name="connsiteY2" fmla="*/ 1433186 h 2019721"/>
              <a:gd name="connsiteX3" fmla="*/ 2733892 w 9160577"/>
              <a:gd name="connsiteY3" fmla="*/ 1448487 h 2019721"/>
              <a:gd name="connsiteX4" fmla="*/ 4182446 w 9160577"/>
              <a:gd name="connsiteY4" fmla="*/ 1729004 h 2019721"/>
              <a:gd name="connsiteX5" fmla="*/ 5253561 w 9160577"/>
              <a:gd name="connsiteY5" fmla="*/ 1973818 h 2019721"/>
              <a:gd name="connsiteX6" fmla="*/ 7084656 w 9160577"/>
              <a:gd name="connsiteY6" fmla="*/ 2019721 h 2019721"/>
              <a:gd name="connsiteX7" fmla="*/ 8885148 w 9160577"/>
              <a:gd name="connsiteY7" fmla="*/ 1764706 h 2019721"/>
              <a:gd name="connsiteX8" fmla="*/ 9155476 w 9160577"/>
              <a:gd name="connsiteY8" fmla="*/ 1606596 h 2019721"/>
              <a:gd name="connsiteX9" fmla="*/ 9160577 w 9160577"/>
              <a:gd name="connsiteY9" fmla="*/ 0 h 2019721"/>
              <a:gd name="connsiteX10" fmla="*/ 0 w 9160577"/>
              <a:gd name="connsiteY10" fmla="*/ 2627 h 2019721"/>
              <a:gd name="connsiteX11" fmla="*/ 0 w 9160577"/>
              <a:gd name="connsiteY11" fmla="*/ 1739204 h 2019721"/>
              <a:gd name="connsiteX0" fmla="*/ 0 w 9160577"/>
              <a:gd name="connsiteY0" fmla="*/ 1739204 h 2019721"/>
              <a:gd name="connsiteX1" fmla="*/ 1208829 w 9160577"/>
              <a:gd name="connsiteY1" fmla="*/ 1479089 h 2019721"/>
              <a:gd name="connsiteX2" fmla="*/ 2035117 w 9160577"/>
              <a:gd name="connsiteY2" fmla="*/ 1433186 h 2019721"/>
              <a:gd name="connsiteX3" fmla="*/ 2733892 w 9160577"/>
              <a:gd name="connsiteY3" fmla="*/ 1448487 h 2019721"/>
              <a:gd name="connsiteX4" fmla="*/ 4182446 w 9160577"/>
              <a:gd name="connsiteY4" fmla="*/ 1729004 h 2019721"/>
              <a:gd name="connsiteX5" fmla="*/ 5253561 w 9160577"/>
              <a:gd name="connsiteY5" fmla="*/ 1973818 h 2019721"/>
              <a:gd name="connsiteX6" fmla="*/ 7084656 w 9160577"/>
              <a:gd name="connsiteY6" fmla="*/ 2019721 h 2019721"/>
              <a:gd name="connsiteX7" fmla="*/ 8885148 w 9160577"/>
              <a:gd name="connsiteY7" fmla="*/ 1764706 h 2019721"/>
              <a:gd name="connsiteX8" fmla="*/ 9155476 w 9160577"/>
              <a:gd name="connsiteY8" fmla="*/ 1606596 h 2019721"/>
              <a:gd name="connsiteX9" fmla="*/ 9160577 w 9160577"/>
              <a:gd name="connsiteY9" fmla="*/ 0 h 2019721"/>
              <a:gd name="connsiteX10" fmla="*/ 0 w 9160577"/>
              <a:gd name="connsiteY10" fmla="*/ 2627 h 2019721"/>
              <a:gd name="connsiteX11" fmla="*/ 0 w 9160577"/>
              <a:gd name="connsiteY11" fmla="*/ 1739204 h 2019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60577" h="2019721">
                <a:moveTo>
                  <a:pt x="0" y="1739204"/>
                </a:moveTo>
                <a:lnTo>
                  <a:pt x="1208829" y="1479089"/>
                </a:lnTo>
                <a:lnTo>
                  <a:pt x="2035117" y="1433186"/>
                </a:lnTo>
                <a:lnTo>
                  <a:pt x="2733892" y="1448487"/>
                </a:lnTo>
                <a:lnTo>
                  <a:pt x="4182446" y="1729004"/>
                </a:lnTo>
                <a:lnTo>
                  <a:pt x="5253561" y="1973818"/>
                </a:lnTo>
                <a:lnTo>
                  <a:pt x="7084656" y="2019721"/>
                </a:lnTo>
                <a:lnTo>
                  <a:pt x="8885148" y="1764706"/>
                </a:lnTo>
                <a:lnTo>
                  <a:pt x="9155476" y="1606596"/>
                </a:lnTo>
                <a:cubicBezTo>
                  <a:pt x="9158026" y="803298"/>
                  <a:pt x="9158026" y="803298"/>
                  <a:pt x="9160577" y="0"/>
                </a:cubicBezTo>
                <a:lnTo>
                  <a:pt x="0" y="2627"/>
                </a:lnTo>
                <a:lnTo>
                  <a:pt x="0" y="17392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7" descr="_0000_NHSBT_Ribbon_NHS_Blue_RGB_WhiteAbv_DRAFT.png">
            <a:extLst>
              <a:ext uri="{FF2B5EF4-FFF2-40B4-BE49-F238E27FC236}">
                <a16:creationId xmlns:a16="http://schemas.microsoft.com/office/drawing/2014/main" id="{01424E6D-6FFD-422E-AEA2-49A287E9460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350" y="-9525"/>
            <a:ext cx="12212638" cy="2660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2">
            <a:extLst>
              <a:ext uri="{FF2B5EF4-FFF2-40B4-BE49-F238E27FC236}">
                <a16:creationId xmlns:a16="http://schemas.microsoft.com/office/drawing/2014/main" id="{D8A2BB66-4BF7-493F-BCB6-B3F955D27B2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77388" y="504825"/>
            <a:ext cx="2058987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6900" y="2736419"/>
            <a:ext cx="10363200" cy="1470661"/>
          </a:xfrm>
        </p:spPr>
        <p:txBody>
          <a:bodyPr/>
          <a:lstStyle>
            <a:lvl1pPr algn="l">
              <a:defRPr sz="33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6900" y="4407335"/>
            <a:ext cx="10363200" cy="669607"/>
          </a:xfrm>
        </p:spPr>
        <p:txBody>
          <a:bodyPr/>
          <a:lstStyle>
            <a:lvl1pPr marL="0" indent="0" algn="l">
              <a:buNone/>
              <a:defRPr sz="2700">
                <a:solidFill>
                  <a:schemeClr val="bg1"/>
                </a:solidFill>
              </a:defRPr>
            </a:lvl1pPr>
            <a:lvl2pPr marL="357165" indent="0">
              <a:buNone/>
              <a:defRPr sz="1406">
                <a:solidFill>
                  <a:schemeClr val="tx1">
                    <a:tint val="75000"/>
                  </a:schemeClr>
                </a:solidFill>
              </a:defRPr>
            </a:lvl2pPr>
            <a:lvl3pPr marL="714329" indent="0">
              <a:buNone/>
              <a:defRPr sz="1250">
                <a:solidFill>
                  <a:schemeClr val="tx1">
                    <a:tint val="75000"/>
                  </a:schemeClr>
                </a:solidFill>
              </a:defRPr>
            </a:lvl3pPr>
            <a:lvl4pPr marL="1071494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4pPr>
            <a:lvl5pPr marL="1428659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5pPr>
            <a:lvl6pPr marL="1785824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6pPr>
            <a:lvl7pPr marL="2142988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7pPr>
            <a:lvl8pPr marL="2500153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8pPr>
            <a:lvl9pPr marL="2857317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0"/>
          </p:nvPr>
        </p:nvSpPr>
        <p:spPr>
          <a:xfrm>
            <a:off x="596900" y="5289558"/>
            <a:ext cx="10363200" cy="669607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357165" indent="0">
              <a:buNone/>
              <a:defRPr sz="1406">
                <a:solidFill>
                  <a:schemeClr val="tx1">
                    <a:tint val="75000"/>
                  </a:schemeClr>
                </a:solidFill>
              </a:defRPr>
            </a:lvl2pPr>
            <a:lvl3pPr marL="714329" indent="0">
              <a:buNone/>
              <a:defRPr sz="1250">
                <a:solidFill>
                  <a:schemeClr val="tx1">
                    <a:tint val="75000"/>
                  </a:schemeClr>
                </a:solidFill>
              </a:defRPr>
            </a:lvl3pPr>
            <a:lvl4pPr marL="1071494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4pPr>
            <a:lvl5pPr marL="1428659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5pPr>
            <a:lvl6pPr marL="1785824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6pPr>
            <a:lvl7pPr marL="2142988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7pPr>
            <a:lvl8pPr marL="2500153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8pPr>
            <a:lvl9pPr marL="2857317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03885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1200"/>
              </a:spcAft>
              <a:defRPr sz="2400"/>
            </a:lvl1pPr>
            <a:lvl2pPr>
              <a:lnSpc>
                <a:spcPct val="100000"/>
              </a:lnSpc>
              <a:spcAft>
                <a:spcPts val="1200"/>
              </a:spcAft>
              <a:defRPr sz="2000"/>
            </a:lvl2pPr>
            <a:lvl3pPr>
              <a:lnSpc>
                <a:spcPct val="100000"/>
              </a:lnSpc>
              <a:spcAft>
                <a:spcPts val="1200"/>
              </a:spcAft>
              <a:defRPr sz="1800"/>
            </a:lvl3pPr>
            <a:lvl4pPr>
              <a:lnSpc>
                <a:spcPct val="100000"/>
              </a:lnSpc>
              <a:spcAft>
                <a:spcPts val="1200"/>
              </a:spcAft>
              <a:defRPr sz="1600"/>
            </a:lvl4pPr>
            <a:lvl5pPr>
              <a:lnSpc>
                <a:spcPct val="100000"/>
              </a:lnSpc>
              <a:spcAft>
                <a:spcPts val="120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01061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247" y="4406925"/>
            <a:ext cx="10363200" cy="1362075"/>
          </a:xfrm>
        </p:spPr>
        <p:txBody>
          <a:bodyPr anchor="t"/>
          <a:lstStyle>
            <a:lvl1pPr algn="l">
              <a:defRPr sz="4167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247" y="2906719"/>
            <a:ext cx="10363200" cy="1500187"/>
          </a:xfrm>
        </p:spPr>
        <p:txBody>
          <a:bodyPr anchor="b"/>
          <a:lstStyle>
            <a:lvl1pPr marL="0" indent="0">
              <a:buNone/>
              <a:defRPr sz="2083"/>
            </a:lvl1pPr>
            <a:lvl2pPr marL="476208" indent="0">
              <a:buNone/>
              <a:defRPr sz="1875"/>
            </a:lvl2pPr>
            <a:lvl3pPr marL="952415" indent="0">
              <a:buNone/>
              <a:defRPr sz="1667"/>
            </a:lvl3pPr>
            <a:lvl4pPr marL="1428623" indent="0">
              <a:buNone/>
              <a:defRPr sz="1459"/>
            </a:lvl4pPr>
            <a:lvl5pPr marL="1904831" indent="0">
              <a:buNone/>
              <a:defRPr sz="1459"/>
            </a:lvl5pPr>
            <a:lvl6pPr marL="2381039" indent="0">
              <a:buNone/>
              <a:defRPr sz="1459"/>
            </a:lvl6pPr>
            <a:lvl7pPr marL="2857246" indent="0">
              <a:buNone/>
              <a:defRPr sz="1459"/>
            </a:lvl7pPr>
            <a:lvl8pPr marL="3333454" indent="0">
              <a:buNone/>
              <a:defRPr sz="1459"/>
            </a:lvl8pPr>
            <a:lvl9pPr marL="3809661" indent="0">
              <a:buNone/>
              <a:defRPr sz="1459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96044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34" y="1600225"/>
            <a:ext cx="5392615" cy="4525963"/>
          </a:xfrm>
        </p:spPr>
        <p:txBody>
          <a:bodyPr>
            <a:normAutofit/>
          </a:bodyPr>
          <a:lstStyle>
            <a:lvl1pPr>
              <a:defRPr sz="2916"/>
            </a:lvl1pPr>
            <a:lvl2pPr>
              <a:defRPr sz="2500"/>
            </a:lvl2pPr>
            <a:lvl3pPr>
              <a:defRPr sz="2083"/>
            </a:lvl3pPr>
            <a:lvl4pPr>
              <a:defRPr sz="1875"/>
            </a:lvl4pPr>
            <a:lvl5pPr>
              <a:defRPr sz="1875"/>
            </a:lvl5pPr>
            <a:lvl6pPr>
              <a:defRPr sz="1875"/>
            </a:lvl6pPr>
            <a:lvl7pPr>
              <a:defRPr sz="1875"/>
            </a:lvl7pPr>
            <a:lvl8pPr>
              <a:defRPr sz="1875"/>
            </a:lvl8pPr>
            <a:lvl9pPr>
              <a:defRPr sz="18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9818" y="1600225"/>
            <a:ext cx="5392615" cy="4525963"/>
          </a:xfrm>
        </p:spPr>
        <p:txBody>
          <a:bodyPr>
            <a:normAutofit/>
          </a:bodyPr>
          <a:lstStyle>
            <a:lvl1pPr>
              <a:defRPr sz="2916"/>
            </a:lvl1pPr>
            <a:lvl2pPr>
              <a:defRPr sz="2500"/>
            </a:lvl2pPr>
            <a:lvl3pPr>
              <a:defRPr sz="2083"/>
            </a:lvl3pPr>
            <a:lvl4pPr>
              <a:defRPr sz="1875"/>
            </a:lvl4pPr>
            <a:lvl5pPr>
              <a:defRPr sz="1875"/>
            </a:lvl5pPr>
            <a:lvl6pPr>
              <a:defRPr sz="1875"/>
            </a:lvl6pPr>
            <a:lvl7pPr>
              <a:defRPr sz="1875"/>
            </a:lvl7pPr>
            <a:lvl8pPr>
              <a:defRPr sz="1875"/>
            </a:lvl8pPr>
            <a:lvl9pPr>
              <a:defRPr sz="18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94430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535112"/>
            <a:ext cx="5386755" cy="639763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6208" indent="0">
              <a:buNone/>
              <a:defRPr sz="2083" b="1"/>
            </a:lvl2pPr>
            <a:lvl3pPr marL="952415" indent="0">
              <a:buNone/>
              <a:defRPr sz="1875" b="1"/>
            </a:lvl3pPr>
            <a:lvl4pPr marL="1428623" indent="0">
              <a:buNone/>
              <a:defRPr sz="1667" b="1"/>
            </a:lvl4pPr>
            <a:lvl5pPr marL="1904831" indent="0">
              <a:buNone/>
              <a:defRPr sz="1667" b="1"/>
            </a:lvl5pPr>
            <a:lvl6pPr marL="2381039" indent="0">
              <a:buNone/>
              <a:defRPr sz="1667" b="1"/>
            </a:lvl6pPr>
            <a:lvl7pPr marL="2857246" indent="0">
              <a:buNone/>
              <a:defRPr sz="1667" b="1"/>
            </a:lvl7pPr>
            <a:lvl8pPr marL="3333454" indent="0">
              <a:buNone/>
              <a:defRPr sz="1667" b="1"/>
            </a:lvl8pPr>
            <a:lvl9pPr marL="3809661" indent="0">
              <a:buNone/>
              <a:defRPr sz="16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1" y="2174875"/>
            <a:ext cx="5386755" cy="3951288"/>
          </a:xfrm>
        </p:spPr>
        <p:txBody>
          <a:bodyPr>
            <a:normAutofit/>
          </a:bodyPr>
          <a:lstStyle>
            <a:lvl1pPr>
              <a:defRPr sz="2500"/>
            </a:lvl1pPr>
            <a:lvl2pPr>
              <a:defRPr sz="2083"/>
            </a:lvl2pPr>
            <a:lvl3pPr>
              <a:defRPr sz="1875"/>
            </a:lvl3pPr>
            <a:lvl4pPr>
              <a:defRPr sz="1667"/>
            </a:lvl4pPr>
            <a:lvl5pPr>
              <a:defRPr sz="1667"/>
            </a:lvl5pPr>
            <a:lvl6pPr>
              <a:defRPr sz="1667"/>
            </a:lvl6pPr>
            <a:lvl7pPr>
              <a:defRPr sz="1667"/>
            </a:lvl7pPr>
            <a:lvl8pPr>
              <a:defRPr sz="1667"/>
            </a:lvl8pPr>
            <a:lvl9pPr>
              <a:defRPr sz="1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695" y="1535112"/>
            <a:ext cx="5388708" cy="639763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6208" indent="0">
              <a:buNone/>
              <a:defRPr sz="2083" b="1"/>
            </a:lvl2pPr>
            <a:lvl3pPr marL="952415" indent="0">
              <a:buNone/>
              <a:defRPr sz="1875" b="1"/>
            </a:lvl3pPr>
            <a:lvl4pPr marL="1428623" indent="0">
              <a:buNone/>
              <a:defRPr sz="1667" b="1"/>
            </a:lvl4pPr>
            <a:lvl5pPr marL="1904831" indent="0">
              <a:buNone/>
              <a:defRPr sz="1667" b="1"/>
            </a:lvl5pPr>
            <a:lvl6pPr marL="2381039" indent="0">
              <a:buNone/>
              <a:defRPr sz="1667" b="1"/>
            </a:lvl6pPr>
            <a:lvl7pPr marL="2857246" indent="0">
              <a:buNone/>
              <a:defRPr sz="1667" b="1"/>
            </a:lvl7pPr>
            <a:lvl8pPr marL="3333454" indent="0">
              <a:buNone/>
              <a:defRPr sz="1667" b="1"/>
            </a:lvl8pPr>
            <a:lvl9pPr marL="3809661" indent="0">
              <a:buNone/>
              <a:defRPr sz="16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695" y="2174875"/>
            <a:ext cx="5388708" cy="3951288"/>
          </a:xfrm>
        </p:spPr>
        <p:txBody>
          <a:bodyPr>
            <a:normAutofit/>
          </a:bodyPr>
          <a:lstStyle>
            <a:lvl1pPr>
              <a:defRPr sz="2500"/>
            </a:lvl1pPr>
            <a:lvl2pPr>
              <a:defRPr sz="2083"/>
            </a:lvl2pPr>
            <a:lvl3pPr>
              <a:defRPr sz="1875"/>
            </a:lvl3pPr>
            <a:lvl4pPr>
              <a:defRPr sz="1667"/>
            </a:lvl4pPr>
            <a:lvl5pPr>
              <a:defRPr sz="1667"/>
            </a:lvl5pPr>
            <a:lvl6pPr>
              <a:defRPr sz="1667"/>
            </a:lvl6pPr>
            <a:lvl7pPr>
              <a:defRPr sz="1667"/>
            </a:lvl7pPr>
            <a:lvl8pPr>
              <a:defRPr sz="1667"/>
            </a:lvl8pPr>
            <a:lvl9pPr>
              <a:defRPr sz="1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EBA3687F-6285-4E3E-BD33-AAC03996548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10181" y="274521"/>
            <a:ext cx="9842856" cy="6333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74873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6C9D9B-8AD5-4E48-8B82-053F7DA57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867C43-9BBA-134B-844F-5DB9B19574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B171DD-F3A1-DB48-9E09-DAF28E77AE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F8977-2BF9-5049-ABDF-5531E86C8FAF}" type="datetimeFigureOut">
              <a:rPr lang="en-GB" smtClean="0"/>
              <a:t>08/02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DDC985-D3D4-784F-B09A-F6BE65B8A8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91C602-9577-D849-8810-D7AE7B3FF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9411B2-EAC1-5543-9471-EF8DAB78A27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95042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47333"/>
            <a:ext cx="5386755" cy="639763"/>
          </a:xfrm>
          <a:ln>
            <a:solidFill>
              <a:srgbClr val="0071BB"/>
            </a:solidFill>
          </a:ln>
        </p:spPr>
        <p:txBody>
          <a:bodyPr anchor="ctr"/>
          <a:lstStyle>
            <a:lvl1pPr marL="0" indent="0" algn="ctr">
              <a:buNone/>
              <a:defRPr sz="2500" b="1"/>
            </a:lvl1pPr>
            <a:lvl2pPr marL="476208" indent="0">
              <a:buNone/>
              <a:defRPr sz="2083" b="1"/>
            </a:lvl2pPr>
            <a:lvl3pPr marL="952415" indent="0">
              <a:buNone/>
              <a:defRPr sz="1875" b="1"/>
            </a:lvl3pPr>
            <a:lvl4pPr marL="1428623" indent="0">
              <a:buNone/>
              <a:defRPr sz="1667" b="1"/>
            </a:lvl4pPr>
            <a:lvl5pPr marL="1904831" indent="0">
              <a:buNone/>
              <a:defRPr sz="1667" b="1"/>
            </a:lvl5pPr>
            <a:lvl6pPr marL="2381039" indent="0">
              <a:buNone/>
              <a:defRPr sz="1667" b="1"/>
            </a:lvl6pPr>
            <a:lvl7pPr marL="2857246" indent="0">
              <a:buNone/>
              <a:defRPr sz="1667" b="1"/>
            </a:lvl7pPr>
            <a:lvl8pPr marL="3333454" indent="0">
              <a:buNone/>
              <a:defRPr sz="1667" b="1"/>
            </a:lvl8pPr>
            <a:lvl9pPr marL="3809661" indent="0">
              <a:buNone/>
              <a:defRPr sz="16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1" y="2174875"/>
            <a:ext cx="5386755" cy="3951288"/>
          </a:xfrm>
          <a:ln>
            <a:solidFill>
              <a:srgbClr val="0071BB"/>
            </a:solidFill>
          </a:ln>
        </p:spPr>
        <p:txBody>
          <a:bodyPr>
            <a:normAutofit/>
          </a:bodyPr>
          <a:lstStyle>
            <a:lvl1pPr>
              <a:defRPr sz="2500"/>
            </a:lvl1pPr>
            <a:lvl2pPr>
              <a:defRPr sz="2083"/>
            </a:lvl2pPr>
            <a:lvl3pPr>
              <a:defRPr sz="1875"/>
            </a:lvl3pPr>
            <a:lvl4pPr>
              <a:defRPr sz="1667"/>
            </a:lvl4pPr>
            <a:lvl5pPr>
              <a:defRPr sz="1667"/>
            </a:lvl5pPr>
            <a:lvl6pPr>
              <a:defRPr sz="1667"/>
            </a:lvl6pPr>
            <a:lvl7pPr>
              <a:defRPr sz="1667"/>
            </a:lvl7pPr>
            <a:lvl8pPr>
              <a:defRPr sz="1667"/>
            </a:lvl8pPr>
            <a:lvl9pPr>
              <a:defRPr sz="1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695" y="1347333"/>
            <a:ext cx="5388708" cy="639763"/>
          </a:xfrm>
          <a:ln>
            <a:solidFill>
              <a:srgbClr val="0071BB"/>
            </a:solidFill>
          </a:ln>
        </p:spPr>
        <p:txBody>
          <a:bodyPr anchor="ctr"/>
          <a:lstStyle>
            <a:lvl1pPr marL="0" indent="0" algn="ctr">
              <a:buNone/>
              <a:defRPr sz="2500" b="1"/>
            </a:lvl1pPr>
            <a:lvl2pPr marL="476208" indent="0">
              <a:buNone/>
              <a:defRPr sz="2083" b="1"/>
            </a:lvl2pPr>
            <a:lvl3pPr marL="952415" indent="0">
              <a:buNone/>
              <a:defRPr sz="1875" b="1"/>
            </a:lvl3pPr>
            <a:lvl4pPr marL="1428623" indent="0">
              <a:buNone/>
              <a:defRPr sz="1667" b="1"/>
            </a:lvl4pPr>
            <a:lvl5pPr marL="1904831" indent="0">
              <a:buNone/>
              <a:defRPr sz="1667" b="1"/>
            </a:lvl5pPr>
            <a:lvl6pPr marL="2381039" indent="0">
              <a:buNone/>
              <a:defRPr sz="1667" b="1"/>
            </a:lvl6pPr>
            <a:lvl7pPr marL="2857246" indent="0">
              <a:buNone/>
              <a:defRPr sz="1667" b="1"/>
            </a:lvl7pPr>
            <a:lvl8pPr marL="3333454" indent="0">
              <a:buNone/>
              <a:defRPr sz="1667" b="1"/>
            </a:lvl8pPr>
            <a:lvl9pPr marL="3809661" indent="0">
              <a:buNone/>
              <a:defRPr sz="16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695" y="2174875"/>
            <a:ext cx="5388708" cy="3951288"/>
          </a:xfrm>
          <a:ln>
            <a:solidFill>
              <a:srgbClr val="0071BB"/>
            </a:solidFill>
          </a:ln>
        </p:spPr>
        <p:txBody>
          <a:bodyPr>
            <a:normAutofit/>
          </a:bodyPr>
          <a:lstStyle>
            <a:lvl1pPr>
              <a:defRPr sz="2500"/>
            </a:lvl1pPr>
            <a:lvl2pPr>
              <a:defRPr sz="2083"/>
            </a:lvl2pPr>
            <a:lvl3pPr>
              <a:defRPr sz="1875"/>
            </a:lvl3pPr>
            <a:lvl4pPr>
              <a:defRPr sz="1667"/>
            </a:lvl4pPr>
            <a:lvl5pPr>
              <a:defRPr sz="1667"/>
            </a:lvl5pPr>
            <a:lvl6pPr>
              <a:defRPr sz="1667"/>
            </a:lvl6pPr>
            <a:lvl7pPr>
              <a:defRPr sz="1667"/>
            </a:lvl7pPr>
            <a:lvl8pPr>
              <a:defRPr sz="1667"/>
            </a:lvl8pPr>
            <a:lvl9pPr>
              <a:defRPr sz="1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EBA3687F-6285-4E3E-BD33-AAC03996548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10181" y="274521"/>
            <a:ext cx="9842856" cy="6333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87511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707231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63300B4-FC2A-4ED6-A903-5FE450538DED}"/>
              </a:ext>
            </a:extLst>
          </p:cNvPr>
          <p:cNvSpPr/>
          <p:nvPr userDrawn="1"/>
        </p:nvSpPr>
        <p:spPr bwMode="auto">
          <a:xfrm>
            <a:off x="0" y="718457"/>
            <a:ext cx="12192000" cy="35106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4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11628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557" y="4800600"/>
            <a:ext cx="7315200" cy="566739"/>
          </a:xfrm>
        </p:spPr>
        <p:txBody>
          <a:bodyPr anchor="b"/>
          <a:lstStyle>
            <a:lvl1pPr algn="l">
              <a:defRPr sz="2083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557" y="612775"/>
            <a:ext cx="7315200" cy="4114800"/>
          </a:xfrm>
        </p:spPr>
        <p:txBody>
          <a:bodyPr/>
          <a:lstStyle>
            <a:lvl1pPr marL="0" indent="0">
              <a:buNone/>
              <a:defRPr sz="3333"/>
            </a:lvl1pPr>
            <a:lvl2pPr marL="476208" indent="0">
              <a:buNone/>
              <a:defRPr sz="2916"/>
            </a:lvl2pPr>
            <a:lvl3pPr marL="952415" indent="0">
              <a:buNone/>
              <a:defRPr sz="2500"/>
            </a:lvl3pPr>
            <a:lvl4pPr marL="1428623" indent="0">
              <a:buNone/>
              <a:defRPr sz="2083"/>
            </a:lvl4pPr>
            <a:lvl5pPr marL="1904831" indent="0">
              <a:buNone/>
              <a:defRPr sz="2083"/>
            </a:lvl5pPr>
            <a:lvl6pPr marL="2381039" indent="0">
              <a:buNone/>
              <a:defRPr sz="2083"/>
            </a:lvl6pPr>
            <a:lvl7pPr marL="2857246" indent="0">
              <a:buNone/>
              <a:defRPr sz="2083"/>
            </a:lvl7pPr>
            <a:lvl8pPr marL="3333454" indent="0">
              <a:buNone/>
              <a:defRPr sz="2083"/>
            </a:lvl8pPr>
            <a:lvl9pPr marL="3809661" indent="0">
              <a:buNone/>
              <a:defRPr sz="2083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557" y="5367338"/>
            <a:ext cx="7315200" cy="804863"/>
          </a:xfrm>
        </p:spPr>
        <p:txBody>
          <a:bodyPr/>
          <a:lstStyle>
            <a:lvl1pPr marL="0" indent="0">
              <a:buNone/>
              <a:defRPr sz="1459"/>
            </a:lvl1pPr>
            <a:lvl2pPr marL="476208" indent="0">
              <a:buNone/>
              <a:defRPr sz="1251"/>
            </a:lvl2pPr>
            <a:lvl3pPr marL="952415" indent="0">
              <a:buNone/>
              <a:defRPr sz="1043"/>
            </a:lvl3pPr>
            <a:lvl4pPr marL="1428623" indent="0">
              <a:buNone/>
              <a:defRPr sz="937"/>
            </a:lvl4pPr>
            <a:lvl5pPr marL="1904831" indent="0">
              <a:buNone/>
              <a:defRPr sz="937"/>
            </a:lvl5pPr>
            <a:lvl6pPr marL="2381039" indent="0">
              <a:buNone/>
              <a:defRPr sz="937"/>
            </a:lvl6pPr>
            <a:lvl7pPr marL="2857246" indent="0">
              <a:buNone/>
              <a:defRPr sz="937"/>
            </a:lvl7pPr>
            <a:lvl8pPr marL="3333454" indent="0">
              <a:buNone/>
              <a:defRPr sz="937"/>
            </a:lvl8pPr>
            <a:lvl9pPr marL="3809661" indent="0">
              <a:buNone/>
              <a:defRPr sz="93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378042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EF57073-208D-4F52-AF47-8918701187FE}"/>
              </a:ext>
            </a:extLst>
          </p:cNvPr>
          <p:cNvSpPr/>
          <p:nvPr userDrawn="1"/>
        </p:nvSpPr>
        <p:spPr bwMode="auto">
          <a:xfrm>
            <a:off x="0" y="718457"/>
            <a:ext cx="12192000" cy="35106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4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67122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181" y="274521"/>
            <a:ext cx="10971641" cy="63337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10181" y="1600808"/>
            <a:ext cx="10971641" cy="4524593"/>
          </a:xfrm>
        </p:spPr>
        <p:txBody>
          <a:bodyPr/>
          <a:lstStyle/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8769391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 descr="NHSBT">
            <a:extLst>
              <a:ext uri="{FF2B5EF4-FFF2-40B4-BE49-F238E27FC236}">
                <a16:creationId xmlns:a16="http://schemas.microsoft.com/office/drawing/2014/main" id="{EC128990-EC2C-4DFE-B55A-B5573F77A5E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14532" y="277814"/>
            <a:ext cx="1907678" cy="534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8270CC0D-D52F-45A1-B448-3821B2DE90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442" y="812801"/>
            <a:ext cx="9305090" cy="10318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167580-9443-4980-90DF-C25675A193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442" y="2089150"/>
            <a:ext cx="9305090" cy="3357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11329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 Title, body, and image LEFT 1">
  <p:cSld name="Basic Title, body, and image LEFT 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7"/>
          <p:cNvSpPr txBox="1">
            <a:spLocks noGrp="1"/>
          </p:cNvSpPr>
          <p:nvPr>
            <p:ph type="title"/>
          </p:nvPr>
        </p:nvSpPr>
        <p:spPr>
          <a:xfrm>
            <a:off x="276767" y="250867"/>
            <a:ext cx="9398000" cy="48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17"/>
          <p:cNvSpPr txBox="1">
            <a:spLocks noGrp="1"/>
          </p:cNvSpPr>
          <p:nvPr>
            <p:ph type="body" idx="1"/>
          </p:nvPr>
        </p:nvSpPr>
        <p:spPr>
          <a:xfrm>
            <a:off x="276767" y="930133"/>
            <a:ext cx="4449600" cy="5722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5917188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 _ No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NHSBT">
            <a:extLst>
              <a:ext uri="{FF2B5EF4-FFF2-40B4-BE49-F238E27FC236}">
                <a16:creationId xmlns:a16="http://schemas.microsoft.com/office/drawing/2014/main" id="{1F768DAA-C56C-4029-8E06-CA5F6F2C527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14532" y="277814"/>
            <a:ext cx="1907678" cy="534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277361"/>
            <a:ext cx="9305090" cy="10318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38990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ernative title slide">
    <p:bg>
      <p:bgPr>
        <a:gradFill rotWithShape="1">
          <a:gsLst>
            <a:gs pos="0">
              <a:srgbClr val="0091C9"/>
            </a:gs>
            <a:gs pos="60001">
              <a:srgbClr val="0072C6"/>
            </a:gs>
            <a:gs pos="100000">
              <a:srgbClr val="00389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7">
            <a:extLst>
              <a:ext uri="{FF2B5EF4-FFF2-40B4-BE49-F238E27FC236}">
                <a16:creationId xmlns:a16="http://schemas.microsoft.com/office/drawing/2014/main" id="{8FC55732-AEDD-47CF-94A3-0A043FAC2AA5}"/>
              </a:ext>
            </a:extLst>
          </p:cNvPr>
          <p:cNvSpPr/>
          <p:nvPr/>
        </p:nvSpPr>
        <p:spPr>
          <a:xfrm>
            <a:off x="-6350" y="-9525"/>
            <a:ext cx="12212638" cy="2019300"/>
          </a:xfrm>
          <a:custGeom>
            <a:avLst/>
            <a:gdLst>
              <a:gd name="connsiteX0" fmla="*/ 0 w 9262587"/>
              <a:gd name="connsiteY0" fmla="*/ 1836110 h 2121727"/>
              <a:gd name="connsiteX1" fmla="*/ 1168024 w 9262587"/>
              <a:gd name="connsiteY1" fmla="*/ 1581095 h 2121727"/>
              <a:gd name="connsiteX2" fmla="*/ 1994312 w 9262587"/>
              <a:gd name="connsiteY2" fmla="*/ 1535192 h 2121727"/>
              <a:gd name="connsiteX3" fmla="*/ 2693087 w 9262587"/>
              <a:gd name="connsiteY3" fmla="*/ 1550493 h 2121727"/>
              <a:gd name="connsiteX4" fmla="*/ 4141641 w 9262587"/>
              <a:gd name="connsiteY4" fmla="*/ 1831010 h 2121727"/>
              <a:gd name="connsiteX5" fmla="*/ 5212756 w 9262587"/>
              <a:gd name="connsiteY5" fmla="*/ 2075824 h 2121727"/>
              <a:gd name="connsiteX6" fmla="*/ 7043851 w 9262587"/>
              <a:gd name="connsiteY6" fmla="*/ 2121727 h 2121727"/>
              <a:gd name="connsiteX7" fmla="*/ 8844343 w 9262587"/>
              <a:gd name="connsiteY7" fmla="*/ 1866712 h 2121727"/>
              <a:gd name="connsiteX8" fmla="*/ 9262587 w 9262587"/>
              <a:gd name="connsiteY8" fmla="*/ 1611696 h 2121727"/>
              <a:gd name="connsiteX9" fmla="*/ 9221783 w 9262587"/>
              <a:gd name="connsiteY9" fmla="*/ 0 h 2121727"/>
              <a:gd name="connsiteX10" fmla="*/ 20402 w 9262587"/>
              <a:gd name="connsiteY10" fmla="*/ 40802 h 2121727"/>
              <a:gd name="connsiteX11" fmla="*/ 0 w 9262587"/>
              <a:gd name="connsiteY11" fmla="*/ 1836110 h 2121727"/>
              <a:gd name="connsiteX0" fmla="*/ 0 w 9221783"/>
              <a:gd name="connsiteY0" fmla="*/ 1836110 h 2121727"/>
              <a:gd name="connsiteX1" fmla="*/ 1168024 w 9221783"/>
              <a:gd name="connsiteY1" fmla="*/ 1581095 h 2121727"/>
              <a:gd name="connsiteX2" fmla="*/ 1994312 w 9221783"/>
              <a:gd name="connsiteY2" fmla="*/ 1535192 h 2121727"/>
              <a:gd name="connsiteX3" fmla="*/ 2693087 w 9221783"/>
              <a:gd name="connsiteY3" fmla="*/ 1550493 h 2121727"/>
              <a:gd name="connsiteX4" fmla="*/ 4141641 w 9221783"/>
              <a:gd name="connsiteY4" fmla="*/ 1831010 h 2121727"/>
              <a:gd name="connsiteX5" fmla="*/ 5212756 w 9221783"/>
              <a:gd name="connsiteY5" fmla="*/ 2075824 h 2121727"/>
              <a:gd name="connsiteX6" fmla="*/ 7043851 w 9221783"/>
              <a:gd name="connsiteY6" fmla="*/ 2121727 h 2121727"/>
              <a:gd name="connsiteX7" fmla="*/ 8844343 w 9221783"/>
              <a:gd name="connsiteY7" fmla="*/ 1866712 h 2121727"/>
              <a:gd name="connsiteX8" fmla="*/ 9170777 w 9221783"/>
              <a:gd name="connsiteY8" fmla="*/ 1662699 h 2121727"/>
              <a:gd name="connsiteX9" fmla="*/ 9221783 w 9221783"/>
              <a:gd name="connsiteY9" fmla="*/ 0 h 2121727"/>
              <a:gd name="connsiteX10" fmla="*/ 20402 w 9221783"/>
              <a:gd name="connsiteY10" fmla="*/ 40802 h 2121727"/>
              <a:gd name="connsiteX11" fmla="*/ 0 w 9221783"/>
              <a:gd name="connsiteY11" fmla="*/ 1836110 h 2121727"/>
              <a:gd name="connsiteX0" fmla="*/ 0 w 9170777"/>
              <a:gd name="connsiteY0" fmla="*/ 1795308 h 2080925"/>
              <a:gd name="connsiteX1" fmla="*/ 1168024 w 9170777"/>
              <a:gd name="connsiteY1" fmla="*/ 1540293 h 2080925"/>
              <a:gd name="connsiteX2" fmla="*/ 1994312 w 9170777"/>
              <a:gd name="connsiteY2" fmla="*/ 1494390 h 2080925"/>
              <a:gd name="connsiteX3" fmla="*/ 2693087 w 9170777"/>
              <a:gd name="connsiteY3" fmla="*/ 1509691 h 2080925"/>
              <a:gd name="connsiteX4" fmla="*/ 4141641 w 9170777"/>
              <a:gd name="connsiteY4" fmla="*/ 1790208 h 2080925"/>
              <a:gd name="connsiteX5" fmla="*/ 5212756 w 9170777"/>
              <a:gd name="connsiteY5" fmla="*/ 2035022 h 2080925"/>
              <a:gd name="connsiteX6" fmla="*/ 7043851 w 9170777"/>
              <a:gd name="connsiteY6" fmla="*/ 2080925 h 2080925"/>
              <a:gd name="connsiteX7" fmla="*/ 8844343 w 9170777"/>
              <a:gd name="connsiteY7" fmla="*/ 1825910 h 2080925"/>
              <a:gd name="connsiteX8" fmla="*/ 9170777 w 9170777"/>
              <a:gd name="connsiteY8" fmla="*/ 1621897 h 2080925"/>
              <a:gd name="connsiteX9" fmla="*/ 9119772 w 9170777"/>
              <a:gd name="connsiteY9" fmla="*/ 61204 h 2080925"/>
              <a:gd name="connsiteX10" fmla="*/ 20402 w 9170777"/>
              <a:gd name="connsiteY10" fmla="*/ 0 h 2080925"/>
              <a:gd name="connsiteX11" fmla="*/ 0 w 9170777"/>
              <a:gd name="connsiteY11" fmla="*/ 1795308 h 2080925"/>
              <a:gd name="connsiteX0" fmla="*/ 0 w 9170777"/>
              <a:gd name="connsiteY0" fmla="*/ 1795308 h 2080925"/>
              <a:gd name="connsiteX1" fmla="*/ 1168024 w 9170777"/>
              <a:gd name="connsiteY1" fmla="*/ 1540293 h 2080925"/>
              <a:gd name="connsiteX2" fmla="*/ 1994312 w 9170777"/>
              <a:gd name="connsiteY2" fmla="*/ 1494390 h 2080925"/>
              <a:gd name="connsiteX3" fmla="*/ 2693087 w 9170777"/>
              <a:gd name="connsiteY3" fmla="*/ 1509691 h 2080925"/>
              <a:gd name="connsiteX4" fmla="*/ 4141641 w 9170777"/>
              <a:gd name="connsiteY4" fmla="*/ 1790208 h 2080925"/>
              <a:gd name="connsiteX5" fmla="*/ 5212756 w 9170777"/>
              <a:gd name="connsiteY5" fmla="*/ 2035022 h 2080925"/>
              <a:gd name="connsiteX6" fmla="*/ 7043851 w 9170777"/>
              <a:gd name="connsiteY6" fmla="*/ 2080925 h 2080925"/>
              <a:gd name="connsiteX7" fmla="*/ 8844343 w 9170777"/>
              <a:gd name="connsiteY7" fmla="*/ 1825910 h 2080925"/>
              <a:gd name="connsiteX8" fmla="*/ 9170777 w 9170777"/>
              <a:gd name="connsiteY8" fmla="*/ 1621897 h 2080925"/>
              <a:gd name="connsiteX9" fmla="*/ 9119772 w 9170777"/>
              <a:gd name="connsiteY9" fmla="*/ 61204 h 2080925"/>
              <a:gd name="connsiteX10" fmla="*/ 20402 w 9170777"/>
              <a:gd name="connsiteY10" fmla="*/ 0 h 2080925"/>
              <a:gd name="connsiteX11" fmla="*/ 0 w 9170777"/>
              <a:gd name="connsiteY11" fmla="*/ 1795308 h 2080925"/>
              <a:gd name="connsiteX0" fmla="*/ 0 w 9119859"/>
              <a:gd name="connsiteY0" fmla="*/ 1795308 h 2080925"/>
              <a:gd name="connsiteX1" fmla="*/ 1168024 w 9119859"/>
              <a:gd name="connsiteY1" fmla="*/ 1540293 h 2080925"/>
              <a:gd name="connsiteX2" fmla="*/ 1994312 w 9119859"/>
              <a:gd name="connsiteY2" fmla="*/ 1494390 h 2080925"/>
              <a:gd name="connsiteX3" fmla="*/ 2693087 w 9119859"/>
              <a:gd name="connsiteY3" fmla="*/ 1509691 h 2080925"/>
              <a:gd name="connsiteX4" fmla="*/ 4141641 w 9119859"/>
              <a:gd name="connsiteY4" fmla="*/ 1790208 h 2080925"/>
              <a:gd name="connsiteX5" fmla="*/ 5212756 w 9119859"/>
              <a:gd name="connsiteY5" fmla="*/ 2035022 h 2080925"/>
              <a:gd name="connsiteX6" fmla="*/ 7043851 w 9119859"/>
              <a:gd name="connsiteY6" fmla="*/ 2080925 h 2080925"/>
              <a:gd name="connsiteX7" fmla="*/ 8844343 w 9119859"/>
              <a:gd name="connsiteY7" fmla="*/ 1825910 h 2080925"/>
              <a:gd name="connsiteX8" fmla="*/ 9114671 w 9119859"/>
              <a:gd name="connsiteY8" fmla="*/ 1667800 h 2080925"/>
              <a:gd name="connsiteX9" fmla="*/ 9119772 w 9119859"/>
              <a:gd name="connsiteY9" fmla="*/ 61204 h 2080925"/>
              <a:gd name="connsiteX10" fmla="*/ 20402 w 9119859"/>
              <a:gd name="connsiteY10" fmla="*/ 0 h 2080925"/>
              <a:gd name="connsiteX11" fmla="*/ 0 w 9119859"/>
              <a:gd name="connsiteY11" fmla="*/ 1795308 h 2080925"/>
              <a:gd name="connsiteX0" fmla="*/ 0 w 9120224"/>
              <a:gd name="connsiteY0" fmla="*/ 1795308 h 2080925"/>
              <a:gd name="connsiteX1" fmla="*/ 1168024 w 9120224"/>
              <a:gd name="connsiteY1" fmla="*/ 1540293 h 2080925"/>
              <a:gd name="connsiteX2" fmla="*/ 1994312 w 9120224"/>
              <a:gd name="connsiteY2" fmla="*/ 1494390 h 2080925"/>
              <a:gd name="connsiteX3" fmla="*/ 2693087 w 9120224"/>
              <a:gd name="connsiteY3" fmla="*/ 1509691 h 2080925"/>
              <a:gd name="connsiteX4" fmla="*/ 4141641 w 9120224"/>
              <a:gd name="connsiteY4" fmla="*/ 1790208 h 2080925"/>
              <a:gd name="connsiteX5" fmla="*/ 5212756 w 9120224"/>
              <a:gd name="connsiteY5" fmla="*/ 2035022 h 2080925"/>
              <a:gd name="connsiteX6" fmla="*/ 7043851 w 9120224"/>
              <a:gd name="connsiteY6" fmla="*/ 2080925 h 2080925"/>
              <a:gd name="connsiteX7" fmla="*/ 8844343 w 9120224"/>
              <a:gd name="connsiteY7" fmla="*/ 1825910 h 2080925"/>
              <a:gd name="connsiteX8" fmla="*/ 9114671 w 9120224"/>
              <a:gd name="connsiteY8" fmla="*/ 1667800 h 2080925"/>
              <a:gd name="connsiteX9" fmla="*/ 9119772 w 9120224"/>
              <a:gd name="connsiteY9" fmla="*/ 61204 h 2080925"/>
              <a:gd name="connsiteX10" fmla="*/ 20402 w 9120224"/>
              <a:gd name="connsiteY10" fmla="*/ 0 h 2080925"/>
              <a:gd name="connsiteX11" fmla="*/ 0 w 9120224"/>
              <a:gd name="connsiteY11" fmla="*/ 1795308 h 2080925"/>
              <a:gd name="connsiteX0" fmla="*/ 40949 w 9161173"/>
              <a:gd name="connsiteY0" fmla="*/ 1734116 h 2019733"/>
              <a:gd name="connsiteX1" fmla="*/ 1208973 w 9161173"/>
              <a:gd name="connsiteY1" fmla="*/ 1479101 h 2019733"/>
              <a:gd name="connsiteX2" fmla="*/ 2035261 w 9161173"/>
              <a:gd name="connsiteY2" fmla="*/ 1433198 h 2019733"/>
              <a:gd name="connsiteX3" fmla="*/ 2734036 w 9161173"/>
              <a:gd name="connsiteY3" fmla="*/ 1448499 h 2019733"/>
              <a:gd name="connsiteX4" fmla="*/ 4182590 w 9161173"/>
              <a:gd name="connsiteY4" fmla="*/ 1729016 h 2019733"/>
              <a:gd name="connsiteX5" fmla="*/ 5253705 w 9161173"/>
              <a:gd name="connsiteY5" fmla="*/ 1973830 h 2019733"/>
              <a:gd name="connsiteX6" fmla="*/ 7084800 w 9161173"/>
              <a:gd name="connsiteY6" fmla="*/ 2019733 h 2019733"/>
              <a:gd name="connsiteX7" fmla="*/ 8885292 w 9161173"/>
              <a:gd name="connsiteY7" fmla="*/ 1764718 h 2019733"/>
              <a:gd name="connsiteX8" fmla="*/ 9155620 w 9161173"/>
              <a:gd name="connsiteY8" fmla="*/ 1606608 h 2019733"/>
              <a:gd name="connsiteX9" fmla="*/ 9160721 w 9161173"/>
              <a:gd name="connsiteY9" fmla="*/ 12 h 2019733"/>
              <a:gd name="connsiteX10" fmla="*/ 144 w 9161173"/>
              <a:gd name="connsiteY10" fmla="*/ 35714 h 2019733"/>
              <a:gd name="connsiteX11" fmla="*/ 40949 w 9161173"/>
              <a:gd name="connsiteY11" fmla="*/ 1734116 h 2019733"/>
              <a:gd name="connsiteX0" fmla="*/ 40805 w 9161029"/>
              <a:gd name="connsiteY0" fmla="*/ 17341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35714 h 2019733"/>
              <a:gd name="connsiteX11" fmla="*/ 40805 w 9161029"/>
              <a:gd name="connsiteY11" fmla="*/ 17341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35714 h 2019733"/>
              <a:gd name="connsiteX11" fmla="*/ 0 w 9161029"/>
              <a:gd name="connsiteY11" fmla="*/ 17392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35714 h 2019733"/>
              <a:gd name="connsiteX11" fmla="*/ 0 w 9161029"/>
              <a:gd name="connsiteY11" fmla="*/ 17392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2639 h 2019733"/>
              <a:gd name="connsiteX11" fmla="*/ 0 w 9161029"/>
              <a:gd name="connsiteY11" fmla="*/ 17392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2639 h 2019733"/>
              <a:gd name="connsiteX11" fmla="*/ 0 w 9161029"/>
              <a:gd name="connsiteY11" fmla="*/ 17392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2639 h 2019733"/>
              <a:gd name="connsiteX11" fmla="*/ 0 w 9161029"/>
              <a:gd name="connsiteY11" fmla="*/ 1739216 h 2019733"/>
              <a:gd name="connsiteX0" fmla="*/ 8028 w 9169057"/>
              <a:gd name="connsiteY0" fmla="*/ 1739216 h 2019733"/>
              <a:gd name="connsiteX1" fmla="*/ 1216857 w 9169057"/>
              <a:gd name="connsiteY1" fmla="*/ 1479101 h 2019733"/>
              <a:gd name="connsiteX2" fmla="*/ 2043145 w 9169057"/>
              <a:gd name="connsiteY2" fmla="*/ 1433198 h 2019733"/>
              <a:gd name="connsiteX3" fmla="*/ 2741920 w 9169057"/>
              <a:gd name="connsiteY3" fmla="*/ 1448499 h 2019733"/>
              <a:gd name="connsiteX4" fmla="*/ 4190474 w 9169057"/>
              <a:gd name="connsiteY4" fmla="*/ 1729016 h 2019733"/>
              <a:gd name="connsiteX5" fmla="*/ 5261589 w 9169057"/>
              <a:gd name="connsiteY5" fmla="*/ 1973830 h 2019733"/>
              <a:gd name="connsiteX6" fmla="*/ 7092684 w 9169057"/>
              <a:gd name="connsiteY6" fmla="*/ 2019733 h 2019733"/>
              <a:gd name="connsiteX7" fmla="*/ 8893176 w 9169057"/>
              <a:gd name="connsiteY7" fmla="*/ 1764718 h 2019733"/>
              <a:gd name="connsiteX8" fmla="*/ 9163504 w 9169057"/>
              <a:gd name="connsiteY8" fmla="*/ 1606608 h 2019733"/>
              <a:gd name="connsiteX9" fmla="*/ 9168605 w 9169057"/>
              <a:gd name="connsiteY9" fmla="*/ 12 h 2019733"/>
              <a:gd name="connsiteX10" fmla="*/ 8028 w 9169057"/>
              <a:gd name="connsiteY10" fmla="*/ 2639 h 2019733"/>
              <a:gd name="connsiteX11" fmla="*/ 8028 w 9169057"/>
              <a:gd name="connsiteY11" fmla="*/ 1739216 h 2019733"/>
              <a:gd name="connsiteX0" fmla="*/ 737673 w 9898702"/>
              <a:gd name="connsiteY0" fmla="*/ 1739216 h 2019733"/>
              <a:gd name="connsiteX1" fmla="*/ 1946502 w 9898702"/>
              <a:gd name="connsiteY1" fmla="*/ 1479101 h 2019733"/>
              <a:gd name="connsiteX2" fmla="*/ 2772790 w 9898702"/>
              <a:gd name="connsiteY2" fmla="*/ 1433198 h 2019733"/>
              <a:gd name="connsiteX3" fmla="*/ 3471565 w 9898702"/>
              <a:gd name="connsiteY3" fmla="*/ 1448499 h 2019733"/>
              <a:gd name="connsiteX4" fmla="*/ 4920119 w 9898702"/>
              <a:gd name="connsiteY4" fmla="*/ 1729016 h 2019733"/>
              <a:gd name="connsiteX5" fmla="*/ 5991234 w 9898702"/>
              <a:gd name="connsiteY5" fmla="*/ 1973830 h 2019733"/>
              <a:gd name="connsiteX6" fmla="*/ 7822329 w 9898702"/>
              <a:gd name="connsiteY6" fmla="*/ 2019733 h 2019733"/>
              <a:gd name="connsiteX7" fmla="*/ 9622821 w 9898702"/>
              <a:gd name="connsiteY7" fmla="*/ 1764718 h 2019733"/>
              <a:gd name="connsiteX8" fmla="*/ 9893149 w 9898702"/>
              <a:gd name="connsiteY8" fmla="*/ 1606608 h 2019733"/>
              <a:gd name="connsiteX9" fmla="*/ 9898250 w 9898702"/>
              <a:gd name="connsiteY9" fmla="*/ 12 h 2019733"/>
              <a:gd name="connsiteX10" fmla="*/ 737673 w 9898702"/>
              <a:gd name="connsiteY10" fmla="*/ 2639 h 2019733"/>
              <a:gd name="connsiteX11" fmla="*/ 737673 w 9898702"/>
              <a:gd name="connsiteY11" fmla="*/ 1739216 h 2019733"/>
              <a:gd name="connsiteX0" fmla="*/ 753082 w 9914111"/>
              <a:gd name="connsiteY0" fmla="*/ 1739216 h 2019733"/>
              <a:gd name="connsiteX1" fmla="*/ 1961911 w 9914111"/>
              <a:gd name="connsiteY1" fmla="*/ 1479101 h 2019733"/>
              <a:gd name="connsiteX2" fmla="*/ 2788199 w 9914111"/>
              <a:gd name="connsiteY2" fmla="*/ 1433198 h 2019733"/>
              <a:gd name="connsiteX3" fmla="*/ 3486974 w 9914111"/>
              <a:gd name="connsiteY3" fmla="*/ 1448499 h 2019733"/>
              <a:gd name="connsiteX4" fmla="*/ 4935528 w 9914111"/>
              <a:gd name="connsiteY4" fmla="*/ 1729016 h 2019733"/>
              <a:gd name="connsiteX5" fmla="*/ 6006643 w 9914111"/>
              <a:gd name="connsiteY5" fmla="*/ 1973830 h 2019733"/>
              <a:gd name="connsiteX6" fmla="*/ 7837738 w 9914111"/>
              <a:gd name="connsiteY6" fmla="*/ 2019733 h 2019733"/>
              <a:gd name="connsiteX7" fmla="*/ 9638230 w 9914111"/>
              <a:gd name="connsiteY7" fmla="*/ 1764718 h 2019733"/>
              <a:gd name="connsiteX8" fmla="*/ 9908558 w 9914111"/>
              <a:gd name="connsiteY8" fmla="*/ 1606608 h 2019733"/>
              <a:gd name="connsiteX9" fmla="*/ 9913659 w 9914111"/>
              <a:gd name="connsiteY9" fmla="*/ 12 h 2019733"/>
              <a:gd name="connsiteX10" fmla="*/ 753082 w 9914111"/>
              <a:gd name="connsiteY10" fmla="*/ 2639 h 2019733"/>
              <a:gd name="connsiteX11" fmla="*/ 753082 w 9914111"/>
              <a:gd name="connsiteY11" fmla="*/ 1739216 h 2019733"/>
              <a:gd name="connsiteX0" fmla="*/ 678562 w 9839591"/>
              <a:gd name="connsiteY0" fmla="*/ 1739216 h 2019733"/>
              <a:gd name="connsiteX1" fmla="*/ 1887391 w 9839591"/>
              <a:gd name="connsiteY1" fmla="*/ 1479101 h 2019733"/>
              <a:gd name="connsiteX2" fmla="*/ 2713679 w 9839591"/>
              <a:gd name="connsiteY2" fmla="*/ 1433198 h 2019733"/>
              <a:gd name="connsiteX3" fmla="*/ 3412454 w 9839591"/>
              <a:gd name="connsiteY3" fmla="*/ 1448499 h 2019733"/>
              <a:gd name="connsiteX4" fmla="*/ 4861008 w 9839591"/>
              <a:gd name="connsiteY4" fmla="*/ 1729016 h 2019733"/>
              <a:gd name="connsiteX5" fmla="*/ 5932123 w 9839591"/>
              <a:gd name="connsiteY5" fmla="*/ 1973830 h 2019733"/>
              <a:gd name="connsiteX6" fmla="*/ 7763218 w 9839591"/>
              <a:gd name="connsiteY6" fmla="*/ 2019733 h 2019733"/>
              <a:gd name="connsiteX7" fmla="*/ 9563710 w 9839591"/>
              <a:gd name="connsiteY7" fmla="*/ 1764718 h 2019733"/>
              <a:gd name="connsiteX8" fmla="*/ 9834038 w 9839591"/>
              <a:gd name="connsiteY8" fmla="*/ 1606608 h 2019733"/>
              <a:gd name="connsiteX9" fmla="*/ 9839139 w 9839591"/>
              <a:gd name="connsiteY9" fmla="*/ 12 h 2019733"/>
              <a:gd name="connsiteX10" fmla="*/ 678562 w 9839591"/>
              <a:gd name="connsiteY10" fmla="*/ 2639 h 2019733"/>
              <a:gd name="connsiteX11" fmla="*/ 678562 w 9839591"/>
              <a:gd name="connsiteY11" fmla="*/ 17392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2639 h 2019733"/>
              <a:gd name="connsiteX11" fmla="*/ 0 w 9161029"/>
              <a:gd name="connsiteY11" fmla="*/ 1739216 h 2019733"/>
              <a:gd name="connsiteX0" fmla="*/ 0 w 9160577"/>
              <a:gd name="connsiteY0" fmla="*/ 1739204 h 2019721"/>
              <a:gd name="connsiteX1" fmla="*/ 1208829 w 9160577"/>
              <a:gd name="connsiteY1" fmla="*/ 1479089 h 2019721"/>
              <a:gd name="connsiteX2" fmla="*/ 2035117 w 9160577"/>
              <a:gd name="connsiteY2" fmla="*/ 1433186 h 2019721"/>
              <a:gd name="connsiteX3" fmla="*/ 2733892 w 9160577"/>
              <a:gd name="connsiteY3" fmla="*/ 1448487 h 2019721"/>
              <a:gd name="connsiteX4" fmla="*/ 4182446 w 9160577"/>
              <a:gd name="connsiteY4" fmla="*/ 1729004 h 2019721"/>
              <a:gd name="connsiteX5" fmla="*/ 5253561 w 9160577"/>
              <a:gd name="connsiteY5" fmla="*/ 1973818 h 2019721"/>
              <a:gd name="connsiteX6" fmla="*/ 7084656 w 9160577"/>
              <a:gd name="connsiteY6" fmla="*/ 2019721 h 2019721"/>
              <a:gd name="connsiteX7" fmla="*/ 8885148 w 9160577"/>
              <a:gd name="connsiteY7" fmla="*/ 1764706 h 2019721"/>
              <a:gd name="connsiteX8" fmla="*/ 9155476 w 9160577"/>
              <a:gd name="connsiteY8" fmla="*/ 1606596 h 2019721"/>
              <a:gd name="connsiteX9" fmla="*/ 9160577 w 9160577"/>
              <a:gd name="connsiteY9" fmla="*/ 0 h 2019721"/>
              <a:gd name="connsiteX10" fmla="*/ 0 w 9160577"/>
              <a:gd name="connsiteY10" fmla="*/ 2627 h 2019721"/>
              <a:gd name="connsiteX11" fmla="*/ 0 w 9160577"/>
              <a:gd name="connsiteY11" fmla="*/ 1739204 h 2019721"/>
              <a:gd name="connsiteX0" fmla="*/ 0 w 9160577"/>
              <a:gd name="connsiteY0" fmla="*/ 1739204 h 2019721"/>
              <a:gd name="connsiteX1" fmla="*/ 1208829 w 9160577"/>
              <a:gd name="connsiteY1" fmla="*/ 1479089 h 2019721"/>
              <a:gd name="connsiteX2" fmla="*/ 2035117 w 9160577"/>
              <a:gd name="connsiteY2" fmla="*/ 1433186 h 2019721"/>
              <a:gd name="connsiteX3" fmla="*/ 2733892 w 9160577"/>
              <a:gd name="connsiteY3" fmla="*/ 1448487 h 2019721"/>
              <a:gd name="connsiteX4" fmla="*/ 4182446 w 9160577"/>
              <a:gd name="connsiteY4" fmla="*/ 1729004 h 2019721"/>
              <a:gd name="connsiteX5" fmla="*/ 5253561 w 9160577"/>
              <a:gd name="connsiteY5" fmla="*/ 1973818 h 2019721"/>
              <a:gd name="connsiteX6" fmla="*/ 7084656 w 9160577"/>
              <a:gd name="connsiteY6" fmla="*/ 2019721 h 2019721"/>
              <a:gd name="connsiteX7" fmla="*/ 8885148 w 9160577"/>
              <a:gd name="connsiteY7" fmla="*/ 1764706 h 2019721"/>
              <a:gd name="connsiteX8" fmla="*/ 9155476 w 9160577"/>
              <a:gd name="connsiteY8" fmla="*/ 1606596 h 2019721"/>
              <a:gd name="connsiteX9" fmla="*/ 9160577 w 9160577"/>
              <a:gd name="connsiteY9" fmla="*/ 0 h 2019721"/>
              <a:gd name="connsiteX10" fmla="*/ 0 w 9160577"/>
              <a:gd name="connsiteY10" fmla="*/ 2627 h 2019721"/>
              <a:gd name="connsiteX11" fmla="*/ 0 w 9160577"/>
              <a:gd name="connsiteY11" fmla="*/ 1739204 h 2019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60577" h="2019721">
                <a:moveTo>
                  <a:pt x="0" y="1739204"/>
                </a:moveTo>
                <a:lnTo>
                  <a:pt x="1208829" y="1479089"/>
                </a:lnTo>
                <a:lnTo>
                  <a:pt x="2035117" y="1433186"/>
                </a:lnTo>
                <a:lnTo>
                  <a:pt x="2733892" y="1448487"/>
                </a:lnTo>
                <a:lnTo>
                  <a:pt x="4182446" y="1729004"/>
                </a:lnTo>
                <a:lnTo>
                  <a:pt x="5253561" y="1973818"/>
                </a:lnTo>
                <a:lnTo>
                  <a:pt x="7084656" y="2019721"/>
                </a:lnTo>
                <a:lnTo>
                  <a:pt x="8885148" y="1764706"/>
                </a:lnTo>
                <a:lnTo>
                  <a:pt x="9155476" y="1606596"/>
                </a:lnTo>
                <a:cubicBezTo>
                  <a:pt x="9158026" y="803298"/>
                  <a:pt x="9158026" y="803298"/>
                  <a:pt x="9160577" y="0"/>
                </a:cubicBezTo>
                <a:lnTo>
                  <a:pt x="0" y="2627"/>
                </a:lnTo>
                <a:lnTo>
                  <a:pt x="0" y="17392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7" descr="_0000_NHSBT_Ribbon_NHS_Blue_RGB_WhiteAbv_DRAFT.png">
            <a:extLst>
              <a:ext uri="{FF2B5EF4-FFF2-40B4-BE49-F238E27FC236}">
                <a16:creationId xmlns:a16="http://schemas.microsoft.com/office/drawing/2014/main" id="{547E4261-38AE-4B39-AF94-3099314C441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350" y="-9525"/>
            <a:ext cx="12212638" cy="2660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2">
            <a:extLst>
              <a:ext uri="{FF2B5EF4-FFF2-40B4-BE49-F238E27FC236}">
                <a16:creationId xmlns:a16="http://schemas.microsoft.com/office/drawing/2014/main" id="{22264FDA-1B50-43B2-88F6-C529051D2ED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77388" y="504825"/>
            <a:ext cx="2058987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6900" y="2736417"/>
            <a:ext cx="10363200" cy="1470661"/>
          </a:xfrm>
        </p:spPr>
        <p:txBody>
          <a:bodyPr/>
          <a:lstStyle>
            <a:lvl1pPr algn="l">
              <a:defRPr sz="4400" b="1" cap="none" baseline="0">
                <a:solidFill>
                  <a:srgbClr val="FFFFFF"/>
                </a:solidFill>
              </a:defRPr>
            </a:lvl1pPr>
          </a:lstStyle>
          <a:p>
            <a:r>
              <a:rPr lang="en-GB" noProof="0"/>
              <a:t>Click</a:t>
            </a:r>
            <a:r>
              <a:rPr lang="en-GB"/>
              <a:t>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6900" y="4407333"/>
            <a:ext cx="10363200" cy="669607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bg1"/>
                </a:solidFill>
              </a:defRPr>
            </a:lvl1pPr>
            <a:lvl2pPr marL="476220" indent="0">
              <a:buNone/>
              <a:defRPr sz="1875">
                <a:solidFill>
                  <a:schemeClr val="tx1">
                    <a:tint val="75000"/>
                  </a:schemeClr>
                </a:solidFill>
              </a:defRPr>
            </a:lvl2pPr>
            <a:lvl3pPr marL="952439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3pPr>
            <a:lvl4pPr marL="1428659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4pPr>
            <a:lvl5pPr marL="1904878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5pPr>
            <a:lvl6pPr marL="2381098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6pPr>
            <a:lvl7pPr marL="2857317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7pPr>
            <a:lvl8pPr marL="3333537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8pPr>
            <a:lvl9pPr marL="3809756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0"/>
          </p:nvPr>
        </p:nvSpPr>
        <p:spPr>
          <a:xfrm>
            <a:off x="596900" y="5289556"/>
            <a:ext cx="10363200" cy="669607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76220" indent="0">
              <a:buNone/>
              <a:defRPr sz="1875">
                <a:solidFill>
                  <a:schemeClr val="tx1">
                    <a:tint val="75000"/>
                  </a:schemeClr>
                </a:solidFill>
              </a:defRPr>
            </a:lvl2pPr>
            <a:lvl3pPr marL="952439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3pPr>
            <a:lvl4pPr marL="1428659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4pPr>
            <a:lvl5pPr marL="1904878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5pPr>
            <a:lvl6pPr marL="2381098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6pPr>
            <a:lvl7pPr marL="2857317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7pPr>
            <a:lvl8pPr marL="3333537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8pPr>
            <a:lvl9pPr marL="3809756" indent="0">
              <a:buNone/>
              <a:defRPr sz="145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09067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7F0E2-4D34-E549-86AE-DAC0A9B752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66F887-E886-2A4A-B64E-72E16FAFE2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CC24E1D-5098-9747-844E-A9768D5431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AA3164-AA18-2C4F-A0FB-ADE617B6F5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F8977-2BF9-5049-ABDF-5531E86C8FAF}" type="datetimeFigureOut">
              <a:rPr lang="en-GB" smtClean="0"/>
              <a:t>08/02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E2451B-4FD5-C143-8861-9B898C09B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1616100-2A19-204C-8B76-1D3EA539A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9411B2-EAC1-5543-9471-EF8DAB78A27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348898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71360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247" y="4406925"/>
            <a:ext cx="10363200" cy="1362075"/>
          </a:xfrm>
        </p:spPr>
        <p:txBody>
          <a:bodyPr anchor="t"/>
          <a:lstStyle>
            <a:lvl1pPr algn="l">
              <a:defRPr sz="4166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247" y="2906718"/>
            <a:ext cx="10363200" cy="1500187"/>
          </a:xfrm>
        </p:spPr>
        <p:txBody>
          <a:bodyPr anchor="b"/>
          <a:lstStyle>
            <a:lvl1pPr marL="0" indent="0">
              <a:buNone/>
              <a:defRPr sz="2083"/>
            </a:lvl1pPr>
            <a:lvl2pPr marL="476220" indent="0">
              <a:buNone/>
              <a:defRPr sz="1875"/>
            </a:lvl2pPr>
            <a:lvl3pPr marL="952439" indent="0">
              <a:buNone/>
              <a:defRPr sz="1667"/>
            </a:lvl3pPr>
            <a:lvl4pPr marL="1428659" indent="0">
              <a:buNone/>
              <a:defRPr sz="1458"/>
            </a:lvl4pPr>
            <a:lvl5pPr marL="1904878" indent="0">
              <a:buNone/>
              <a:defRPr sz="1458"/>
            </a:lvl5pPr>
            <a:lvl6pPr marL="2381098" indent="0">
              <a:buNone/>
              <a:defRPr sz="1458"/>
            </a:lvl6pPr>
            <a:lvl7pPr marL="2857317" indent="0">
              <a:buNone/>
              <a:defRPr sz="1458"/>
            </a:lvl7pPr>
            <a:lvl8pPr marL="3333537" indent="0">
              <a:buNone/>
              <a:defRPr sz="1458"/>
            </a:lvl8pPr>
            <a:lvl9pPr marL="3809756" indent="0">
              <a:buNone/>
              <a:defRPr sz="145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23112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32" y="1600225"/>
            <a:ext cx="5392615" cy="4525963"/>
          </a:xfrm>
        </p:spPr>
        <p:txBody>
          <a:bodyPr/>
          <a:lstStyle>
            <a:lvl1pPr>
              <a:defRPr sz="2916"/>
            </a:lvl1pPr>
            <a:lvl2pPr>
              <a:defRPr sz="2500"/>
            </a:lvl2pPr>
            <a:lvl3pPr>
              <a:defRPr sz="2083"/>
            </a:lvl3pPr>
            <a:lvl4pPr>
              <a:defRPr sz="1875"/>
            </a:lvl4pPr>
            <a:lvl5pPr>
              <a:defRPr sz="1875"/>
            </a:lvl5pPr>
            <a:lvl6pPr>
              <a:defRPr sz="1875"/>
            </a:lvl6pPr>
            <a:lvl7pPr>
              <a:defRPr sz="1875"/>
            </a:lvl7pPr>
            <a:lvl8pPr>
              <a:defRPr sz="1875"/>
            </a:lvl8pPr>
            <a:lvl9pPr>
              <a:defRPr sz="18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9816" y="1600225"/>
            <a:ext cx="5392615" cy="4525963"/>
          </a:xfrm>
        </p:spPr>
        <p:txBody>
          <a:bodyPr/>
          <a:lstStyle>
            <a:lvl1pPr>
              <a:defRPr sz="2916"/>
            </a:lvl1pPr>
            <a:lvl2pPr>
              <a:defRPr sz="2500"/>
            </a:lvl2pPr>
            <a:lvl3pPr>
              <a:defRPr sz="2083"/>
            </a:lvl3pPr>
            <a:lvl4pPr>
              <a:defRPr sz="1875"/>
            </a:lvl4pPr>
            <a:lvl5pPr>
              <a:defRPr sz="1875"/>
            </a:lvl5pPr>
            <a:lvl6pPr>
              <a:defRPr sz="1875"/>
            </a:lvl6pPr>
            <a:lvl7pPr>
              <a:defRPr sz="1875"/>
            </a:lvl7pPr>
            <a:lvl8pPr>
              <a:defRPr sz="1875"/>
            </a:lvl8pPr>
            <a:lvl9pPr>
              <a:defRPr sz="18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532172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2"/>
            <a:ext cx="5386755" cy="63976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6220" indent="0">
              <a:buNone/>
              <a:defRPr sz="2083" b="1"/>
            </a:lvl2pPr>
            <a:lvl3pPr marL="952439" indent="0">
              <a:buNone/>
              <a:defRPr sz="1875" b="1"/>
            </a:lvl3pPr>
            <a:lvl4pPr marL="1428659" indent="0">
              <a:buNone/>
              <a:defRPr sz="1667" b="1"/>
            </a:lvl4pPr>
            <a:lvl5pPr marL="1904878" indent="0">
              <a:buNone/>
              <a:defRPr sz="1667" b="1"/>
            </a:lvl5pPr>
            <a:lvl6pPr marL="2381098" indent="0">
              <a:buNone/>
              <a:defRPr sz="1667" b="1"/>
            </a:lvl6pPr>
            <a:lvl7pPr marL="2857317" indent="0">
              <a:buNone/>
              <a:defRPr sz="1667" b="1"/>
            </a:lvl7pPr>
            <a:lvl8pPr marL="3333537" indent="0">
              <a:buNone/>
              <a:defRPr sz="1667" b="1"/>
            </a:lvl8pPr>
            <a:lvl9pPr marL="3809756" indent="0">
              <a:buNone/>
              <a:defRPr sz="16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755" cy="3951288"/>
          </a:xfrm>
        </p:spPr>
        <p:txBody>
          <a:bodyPr/>
          <a:lstStyle>
            <a:lvl1pPr>
              <a:defRPr sz="2500"/>
            </a:lvl1pPr>
            <a:lvl2pPr>
              <a:defRPr sz="2083"/>
            </a:lvl2pPr>
            <a:lvl3pPr>
              <a:defRPr sz="1875"/>
            </a:lvl3pPr>
            <a:lvl4pPr>
              <a:defRPr sz="1667"/>
            </a:lvl4pPr>
            <a:lvl5pPr>
              <a:defRPr sz="1667"/>
            </a:lvl5pPr>
            <a:lvl6pPr>
              <a:defRPr sz="1667"/>
            </a:lvl6pPr>
            <a:lvl7pPr>
              <a:defRPr sz="1667"/>
            </a:lvl7pPr>
            <a:lvl8pPr>
              <a:defRPr sz="1667"/>
            </a:lvl8pPr>
            <a:lvl9pPr>
              <a:defRPr sz="1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695" y="1535112"/>
            <a:ext cx="5388708" cy="63976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6220" indent="0">
              <a:buNone/>
              <a:defRPr sz="2083" b="1"/>
            </a:lvl2pPr>
            <a:lvl3pPr marL="952439" indent="0">
              <a:buNone/>
              <a:defRPr sz="1875" b="1"/>
            </a:lvl3pPr>
            <a:lvl4pPr marL="1428659" indent="0">
              <a:buNone/>
              <a:defRPr sz="1667" b="1"/>
            </a:lvl4pPr>
            <a:lvl5pPr marL="1904878" indent="0">
              <a:buNone/>
              <a:defRPr sz="1667" b="1"/>
            </a:lvl5pPr>
            <a:lvl6pPr marL="2381098" indent="0">
              <a:buNone/>
              <a:defRPr sz="1667" b="1"/>
            </a:lvl6pPr>
            <a:lvl7pPr marL="2857317" indent="0">
              <a:buNone/>
              <a:defRPr sz="1667" b="1"/>
            </a:lvl7pPr>
            <a:lvl8pPr marL="3333537" indent="0">
              <a:buNone/>
              <a:defRPr sz="1667" b="1"/>
            </a:lvl8pPr>
            <a:lvl9pPr marL="3809756" indent="0">
              <a:buNone/>
              <a:defRPr sz="16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695" y="2174875"/>
            <a:ext cx="5388708" cy="3951288"/>
          </a:xfrm>
        </p:spPr>
        <p:txBody>
          <a:bodyPr/>
          <a:lstStyle>
            <a:lvl1pPr>
              <a:defRPr sz="2500"/>
            </a:lvl1pPr>
            <a:lvl2pPr>
              <a:defRPr sz="2083"/>
            </a:lvl2pPr>
            <a:lvl3pPr>
              <a:defRPr sz="1875"/>
            </a:lvl3pPr>
            <a:lvl4pPr>
              <a:defRPr sz="1667"/>
            </a:lvl4pPr>
            <a:lvl5pPr>
              <a:defRPr sz="1667"/>
            </a:lvl5pPr>
            <a:lvl6pPr>
              <a:defRPr sz="1667"/>
            </a:lvl6pPr>
            <a:lvl7pPr>
              <a:defRPr sz="1667"/>
            </a:lvl7pPr>
            <a:lvl8pPr>
              <a:defRPr sz="1667"/>
            </a:lvl8pPr>
            <a:lvl9pPr>
              <a:defRPr sz="1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10181" y="274519"/>
            <a:ext cx="9842856" cy="633377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GB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32686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47333"/>
            <a:ext cx="5386755" cy="639762"/>
          </a:xfrm>
          <a:ln>
            <a:solidFill>
              <a:srgbClr val="0071BB"/>
            </a:solidFill>
          </a:ln>
        </p:spPr>
        <p:txBody>
          <a:bodyPr anchor="ctr"/>
          <a:lstStyle>
            <a:lvl1pPr marL="0" indent="0" algn="ctr">
              <a:buNone/>
              <a:defRPr sz="2500" b="1"/>
            </a:lvl1pPr>
            <a:lvl2pPr marL="476220" indent="0">
              <a:buNone/>
              <a:defRPr sz="2083" b="1"/>
            </a:lvl2pPr>
            <a:lvl3pPr marL="952439" indent="0">
              <a:buNone/>
              <a:defRPr sz="1875" b="1"/>
            </a:lvl3pPr>
            <a:lvl4pPr marL="1428659" indent="0">
              <a:buNone/>
              <a:defRPr sz="1667" b="1"/>
            </a:lvl4pPr>
            <a:lvl5pPr marL="1904878" indent="0">
              <a:buNone/>
              <a:defRPr sz="1667" b="1"/>
            </a:lvl5pPr>
            <a:lvl6pPr marL="2381098" indent="0">
              <a:buNone/>
              <a:defRPr sz="1667" b="1"/>
            </a:lvl6pPr>
            <a:lvl7pPr marL="2857317" indent="0">
              <a:buNone/>
              <a:defRPr sz="1667" b="1"/>
            </a:lvl7pPr>
            <a:lvl8pPr marL="3333537" indent="0">
              <a:buNone/>
              <a:defRPr sz="1667" b="1"/>
            </a:lvl8pPr>
            <a:lvl9pPr marL="3809756" indent="0">
              <a:buNone/>
              <a:defRPr sz="16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755" cy="3951288"/>
          </a:xfrm>
          <a:ln>
            <a:solidFill>
              <a:srgbClr val="0071BB"/>
            </a:solidFill>
          </a:ln>
        </p:spPr>
        <p:txBody>
          <a:bodyPr/>
          <a:lstStyle>
            <a:lvl1pPr>
              <a:defRPr sz="2500"/>
            </a:lvl1pPr>
            <a:lvl2pPr>
              <a:defRPr sz="2083"/>
            </a:lvl2pPr>
            <a:lvl3pPr>
              <a:defRPr sz="1875"/>
            </a:lvl3pPr>
            <a:lvl4pPr>
              <a:defRPr sz="1667"/>
            </a:lvl4pPr>
            <a:lvl5pPr>
              <a:defRPr sz="1667"/>
            </a:lvl5pPr>
            <a:lvl6pPr>
              <a:defRPr sz="1667"/>
            </a:lvl6pPr>
            <a:lvl7pPr>
              <a:defRPr sz="1667"/>
            </a:lvl7pPr>
            <a:lvl8pPr>
              <a:defRPr sz="1667"/>
            </a:lvl8pPr>
            <a:lvl9pPr>
              <a:defRPr sz="1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695" y="1347333"/>
            <a:ext cx="5388708" cy="639762"/>
          </a:xfrm>
          <a:ln>
            <a:solidFill>
              <a:srgbClr val="0071BB"/>
            </a:solidFill>
          </a:ln>
        </p:spPr>
        <p:txBody>
          <a:bodyPr anchor="ctr"/>
          <a:lstStyle>
            <a:lvl1pPr marL="0" indent="0" algn="ctr">
              <a:buNone/>
              <a:defRPr sz="2500" b="1"/>
            </a:lvl1pPr>
            <a:lvl2pPr marL="476220" indent="0">
              <a:buNone/>
              <a:defRPr sz="2083" b="1"/>
            </a:lvl2pPr>
            <a:lvl3pPr marL="952439" indent="0">
              <a:buNone/>
              <a:defRPr sz="1875" b="1"/>
            </a:lvl3pPr>
            <a:lvl4pPr marL="1428659" indent="0">
              <a:buNone/>
              <a:defRPr sz="1667" b="1"/>
            </a:lvl4pPr>
            <a:lvl5pPr marL="1904878" indent="0">
              <a:buNone/>
              <a:defRPr sz="1667" b="1"/>
            </a:lvl5pPr>
            <a:lvl6pPr marL="2381098" indent="0">
              <a:buNone/>
              <a:defRPr sz="1667" b="1"/>
            </a:lvl6pPr>
            <a:lvl7pPr marL="2857317" indent="0">
              <a:buNone/>
              <a:defRPr sz="1667" b="1"/>
            </a:lvl7pPr>
            <a:lvl8pPr marL="3333537" indent="0">
              <a:buNone/>
              <a:defRPr sz="1667" b="1"/>
            </a:lvl8pPr>
            <a:lvl9pPr marL="3809756" indent="0">
              <a:buNone/>
              <a:defRPr sz="16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695" y="2174875"/>
            <a:ext cx="5388708" cy="3951288"/>
          </a:xfrm>
          <a:ln>
            <a:solidFill>
              <a:srgbClr val="0071BB"/>
            </a:solidFill>
          </a:ln>
        </p:spPr>
        <p:txBody>
          <a:bodyPr/>
          <a:lstStyle>
            <a:lvl1pPr>
              <a:defRPr sz="2500"/>
            </a:lvl1pPr>
            <a:lvl2pPr>
              <a:defRPr sz="2083"/>
            </a:lvl2pPr>
            <a:lvl3pPr>
              <a:defRPr sz="1875"/>
            </a:lvl3pPr>
            <a:lvl4pPr>
              <a:defRPr sz="1667"/>
            </a:lvl4pPr>
            <a:lvl5pPr>
              <a:defRPr sz="1667"/>
            </a:lvl5pPr>
            <a:lvl6pPr>
              <a:defRPr sz="1667"/>
            </a:lvl6pPr>
            <a:lvl7pPr>
              <a:defRPr sz="1667"/>
            </a:lvl7pPr>
            <a:lvl8pPr>
              <a:defRPr sz="1667"/>
            </a:lvl8pPr>
            <a:lvl9pPr>
              <a:defRPr sz="1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10181" y="274519"/>
            <a:ext cx="9842856" cy="633377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GB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53403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65406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>
            <a:extLst>
              <a:ext uri="{FF2B5EF4-FFF2-40B4-BE49-F238E27FC236}">
                <a16:creationId xmlns:a16="http://schemas.microsoft.com/office/drawing/2014/main" id="{AD6F68DC-4B7E-43FD-BE41-37A8422C2A8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719138"/>
            <a:ext cx="12192000" cy="3508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4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8450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557" y="4800600"/>
            <a:ext cx="7315200" cy="566738"/>
          </a:xfrm>
        </p:spPr>
        <p:txBody>
          <a:bodyPr anchor="b"/>
          <a:lstStyle>
            <a:lvl1pPr algn="l">
              <a:defRPr sz="2083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557" y="612775"/>
            <a:ext cx="7315200" cy="4114800"/>
          </a:xfrm>
        </p:spPr>
        <p:txBody>
          <a:bodyPr/>
          <a:lstStyle>
            <a:lvl1pPr marL="0" indent="0">
              <a:buNone/>
              <a:defRPr sz="3333"/>
            </a:lvl1pPr>
            <a:lvl2pPr marL="476220" indent="0">
              <a:buNone/>
              <a:defRPr sz="2916"/>
            </a:lvl2pPr>
            <a:lvl3pPr marL="952439" indent="0">
              <a:buNone/>
              <a:defRPr sz="2500"/>
            </a:lvl3pPr>
            <a:lvl4pPr marL="1428659" indent="0">
              <a:buNone/>
              <a:defRPr sz="2083"/>
            </a:lvl4pPr>
            <a:lvl5pPr marL="1904878" indent="0">
              <a:buNone/>
              <a:defRPr sz="2083"/>
            </a:lvl5pPr>
            <a:lvl6pPr marL="2381098" indent="0">
              <a:buNone/>
              <a:defRPr sz="2083"/>
            </a:lvl6pPr>
            <a:lvl7pPr marL="2857317" indent="0">
              <a:buNone/>
              <a:defRPr sz="2083"/>
            </a:lvl7pPr>
            <a:lvl8pPr marL="3333537" indent="0">
              <a:buNone/>
              <a:defRPr sz="2083"/>
            </a:lvl8pPr>
            <a:lvl9pPr marL="3809756" indent="0">
              <a:buNone/>
              <a:defRPr sz="2083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557" y="5367338"/>
            <a:ext cx="7315200" cy="804862"/>
          </a:xfrm>
        </p:spPr>
        <p:txBody>
          <a:bodyPr/>
          <a:lstStyle>
            <a:lvl1pPr marL="0" indent="0">
              <a:buNone/>
              <a:defRPr sz="1458"/>
            </a:lvl1pPr>
            <a:lvl2pPr marL="476220" indent="0">
              <a:buNone/>
              <a:defRPr sz="1250"/>
            </a:lvl2pPr>
            <a:lvl3pPr marL="952439" indent="0">
              <a:buNone/>
              <a:defRPr sz="1042"/>
            </a:lvl3pPr>
            <a:lvl4pPr marL="1428659" indent="0">
              <a:buNone/>
              <a:defRPr sz="937"/>
            </a:lvl4pPr>
            <a:lvl5pPr marL="1904878" indent="0">
              <a:buNone/>
              <a:defRPr sz="937"/>
            </a:lvl5pPr>
            <a:lvl6pPr marL="2381098" indent="0">
              <a:buNone/>
              <a:defRPr sz="937"/>
            </a:lvl6pPr>
            <a:lvl7pPr marL="2857317" indent="0">
              <a:buNone/>
              <a:defRPr sz="937"/>
            </a:lvl7pPr>
            <a:lvl8pPr marL="3333537" indent="0">
              <a:buNone/>
              <a:defRPr sz="937"/>
            </a:lvl8pPr>
            <a:lvl9pPr marL="3809756" indent="0">
              <a:buNone/>
              <a:defRPr sz="93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27367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9">
            <a:extLst>
              <a:ext uri="{FF2B5EF4-FFF2-40B4-BE49-F238E27FC236}">
                <a16:creationId xmlns:a16="http://schemas.microsoft.com/office/drawing/2014/main" id="{49B5C696-A4CA-4529-8500-3577AF8295A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719138"/>
            <a:ext cx="12192000" cy="3508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4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09600" y="274638"/>
            <a:ext cx="10972800" cy="58515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9550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180" y="274519"/>
            <a:ext cx="10971641" cy="63337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10180" y="1600806"/>
            <a:ext cx="10971641" cy="4524593"/>
          </a:xfrm>
        </p:spPr>
        <p:txBody>
          <a:bodyPr/>
          <a:lstStyle/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610245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619F5A-1B68-094A-B408-024EB74ECF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86F024-524D-CD4E-ABAD-388E0003AA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F9C7F8-D887-1C4D-9624-8A53E0BEF2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80552B4-6F87-0840-9216-0E209ED54E1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F37C12B-50DF-1444-BB36-FDCE45235B2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57BAB3A-C4AD-364F-8862-E6ABFBF972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F8977-2BF9-5049-ABDF-5531E86C8FAF}" type="datetimeFigureOut">
              <a:rPr lang="en-GB" smtClean="0"/>
              <a:t>08/02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66A91E7-D32E-104E-B66B-C78550105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628267C-D5CA-B446-9DDF-27A8A593FE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9411B2-EAC1-5543-9471-EF8DAB78A27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780848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1D4329-C3C4-4EFA-8CD1-E9E9CAEF331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 defTabSz="914400"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3C3DF0-91AF-4254-AC98-3A7E9F3D54DD}" type="datetimeFigureOut"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/02/2022</a:t>
            </a:fld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56041E-0B19-4E49-9E7C-771CCEA37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 defTabSz="914400"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A15C6E-D66C-41DB-B020-DDB3FBE828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/>
          <a:lstStyle>
            <a:lvl1pPr defTabSz="914400"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FCE03F-C95D-425B-B707-A5974E6B047F}" type="slidenum"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611369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9" hidden="1">
            <a:extLst>
              <a:ext uri="{FF2B5EF4-FFF2-40B4-BE49-F238E27FC236}">
                <a16:creationId xmlns:a16="http://schemas.microsoft.com/office/drawing/2014/main" id="{B280D861-3779-4186-91D7-A0F3064FC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9" hidden="1">
                        <a:extLst>
                          <a:ext uri="{FF2B5EF4-FFF2-40B4-BE49-F238E27FC236}">
                            <a16:creationId xmlns:a16="http://schemas.microsoft.com/office/drawing/2014/main" id="{B280D861-3779-4186-91D7-A0F3064FC29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10EF8F9-CDBD-45BB-AF4C-0C4B7C444F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51C2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GB" sz="2999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1ACA8456-035D-4317-8319-BAE9FDDA08C0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9225"/>
            <a:ext cx="325438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609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609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6096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C53E027-E3C1-4AC2-B117-1933C1DC606A}" type="slidenum">
              <a:rPr kumimoji="0" lang="en-GB" alt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6096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2. Slide Title"/>
          <p:cNvSpPr>
            <a:spLocks noGrp="1"/>
          </p:cNvSpPr>
          <p:nvPr>
            <p:ph type="title"/>
          </p:nvPr>
        </p:nvSpPr>
        <p:spPr>
          <a:xfrm>
            <a:off x="554737" y="172212"/>
            <a:ext cx="9082054" cy="731520"/>
          </a:xfrm>
        </p:spPr>
        <p:txBody>
          <a:bodyPr/>
          <a:lstStyle>
            <a:lvl1pPr>
              <a:defRPr sz="2999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1. On-page tracker"/>
          <p:cNvSpPr>
            <a:spLocks noGrp="1"/>
          </p:cNvSpPr>
          <p:nvPr>
            <p:ph type="body" sz="quarter" idx="16"/>
          </p:nvPr>
        </p:nvSpPr>
        <p:spPr>
          <a:xfrm>
            <a:off x="7159752" y="104713"/>
            <a:ext cx="4480560" cy="92333"/>
          </a:xfrm>
        </p:spPr>
        <p:txBody>
          <a:bodyPr lIns="0" tIns="0" rIns="0" bIns="0" rtlCol="0" anchor="ctr">
            <a:spAutoFit/>
          </a:bodyPr>
          <a:lstStyle>
            <a:lvl1pPr algn="r">
              <a:defRPr lang="en-US" sz="600" dirty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3. Subtitle"/>
          <p:cNvSpPr>
            <a:spLocks noGrp="1"/>
          </p:cNvSpPr>
          <p:nvPr>
            <p:ph type="subTitle" idx="1"/>
          </p:nvPr>
        </p:nvSpPr>
        <p:spPr>
          <a:xfrm>
            <a:off x="554737" y="884725"/>
            <a:ext cx="9082054" cy="276999"/>
          </a:xfrm>
        </p:spPr>
        <p:txBody>
          <a:bodyPr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706" indent="0" algn="ctr">
              <a:buNone/>
              <a:defRPr sz="1500"/>
            </a:lvl2pPr>
            <a:lvl3pPr marL="685411" indent="0" algn="ctr">
              <a:buNone/>
              <a:defRPr sz="1350"/>
            </a:lvl3pPr>
            <a:lvl4pPr marL="1028117" indent="0" algn="ctr">
              <a:buNone/>
              <a:defRPr sz="1200"/>
            </a:lvl4pPr>
            <a:lvl5pPr marL="1370823" indent="0" algn="ctr">
              <a:buNone/>
              <a:defRPr sz="1200"/>
            </a:lvl5pPr>
            <a:lvl6pPr marL="1713529" indent="0" algn="ctr">
              <a:buNone/>
              <a:defRPr sz="1200"/>
            </a:lvl6pPr>
            <a:lvl7pPr marL="2056234" indent="0" algn="ctr">
              <a:buNone/>
              <a:defRPr sz="1200"/>
            </a:lvl7pPr>
            <a:lvl8pPr marL="2398940" indent="0" algn="ctr">
              <a:buNone/>
              <a:defRPr sz="1200"/>
            </a:lvl8pPr>
            <a:lvl9pPr marL="2741645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7745634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lternative title slide">
    <p:bg>
      <p:bgPr>
        <a:gradFill rotWithShape="1">
          <a:gsLst>
            <a:gs pos="0">
              <a:srgbClr val="0091C9"/>
            </a:gs>
            <a:gs pos="60001">
              <a:srgbClr val="0072C6"/>
            </a:gs>
            <a:gs pos="100000">
              <a:srgbClr val="00389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7">
            <a:extLst>
              <a:ext uri="{FF2B5EF4-FFF2-40B4-BE49-F238E27FC236}">
                <a16:creationId xmlns:a16="http://schemas.microsoft.com/office/drawing/2014/main" id="{C007B1DF-6614-460F-A59D-BDBAE48CD6D5}"/>
              </a:ext>
            </a:extLst>
          </p:cNvPr>
          <p:cNvSpPr/>
          <p:nvPr/>
        </p:nvSpPr>
        <p:spPr>
          <a:xfrm>
            <a:off x="-6350" y="-9525"/>
            <a:ext cx="12212638" cy="2019300"/>
          </a:xfrm>
          <a:custGeom>
            <a:avLst/>
            <a:gdLst>
              <a:gd name="connsiteX0" fmla="*/ 0 w 9262587"/>
              <a:gd name="connsiteY0" fmla="*/ 1836110 h 2121727"/>
              <a:gd name="connsiteX1" fmla="*/ 1168024 w 9262587"/>
              <a:gd name="connsiteY1" fmla="*/ 1581095 h 2121727"/>
              <a:gd name="connsiteX2" fmla="*/ 1994312 w 9262587"/>
              <a:gd name="connsiteY2" fmla="*/ 1535192 h 2121727"/>
              <a:gd name="connsiteX3" fmla="*/ 2693087 w 9262587"/>
              <a:gd name="connsiteY3" fmla="*/ 1550493 h 2121727"/>
              <a:gd name="connsiteX4" fmla="*/ 4141641 w 9262587"/>
              <a:gd name="connsiteY4" fmla="*/ 1831010 h 2121727"/>
              <a:gd name="connsiteX5" fmla="*/ 5212756 w 9262587"/>
              <a:gd name="connsiteY5" fmla="*/ 2075824 h 2121727"/>
              <a:gd name="connsiteX6" fmla="*/ 7043851 w 9262587"/>
              <a:gd name="connsiteY6" fmla="*/ 2121727 h 2121727"/>
              <a:gd name="connsiteX7" fmla="*/ 8844343 w 9262587"/>
              <a:gd name="connsiteY7" fmla="*/ 1866712 h 2121727"/>
              <a:gd name="connsiteX8" fmla="*/ 9262587 w 9262587"/>
              <a:gd name="connsiteY8" fmla="*/ 1611696 h 2121727"/>
              <a:gd name="connsiteX9" fmla="*/ 9221783 w 9262587"/>
              <a:gd name="connsiteY9" fmla="*/ 0 h 2121727"/>
              <a:gd name="connsiteX10" fmla="*/ 20402 w 9262587"/>
              <a:gd name="connsiteY10" fmla="*/ 40802 h 2121727"/>
              <a:gd name="connsiteX11" fmla="*/ 0 w 9262587"/>
              <a:gd name="connsiteY11" fmla="*/ 1836110 h 2121727"/>
              <a:gd name="connsiteX0" fmla="*/ 0 w 9221783"/>
              <a:gd name="connsiteY0" fmla="*/ 1836110 h 2121727"/>
              <a:gd name="connsiteX1" fmla="*/ 1168024 w 9221783"/>
              <a:gd name="connsiteY1" fmla="*/ 1581095 h 2121727"/>
              <a:gd name="connsiteX2" fmla="*/ 1994312 w 9221783"/>
              <a:gd name="connsiteY2" fmla="*/ 1535192 h 2121727"/>
              <a:gd name="connsiteX3" fmla="*/ 2693087 w 9221783"/>
              <a:gd name="connsiteY3" fmla="*/ 1550493 h 2121727"/>
              <a:gd name="connsiteX4" fmla="*/ 4141641 w 9221783"/>
              <a:gd name="connsiteY4" fmla="*/ 1831010 h 2121727"/>
              <a:gd name="connsiteX5" fmla="*/ 5212756 w 9221783"/>
              <a:gd name="connsiteY5" fmla="*/ 2075824 h 2121727"/>
              <a:gd name="connsiteX6" fmla="*/ 7043851 w 9221783"/>
              <a:gd name="connsiteY6" fmla="*/ 2121727 h 2121727"/>
              <a:gd name="connsiteX7" fmla="*/ 8844343 w 9221783"/>
              <a:gd name="connsiteY7" fmla="*/ 1866712 h 2121727"/>
              <a:gd name="connsiteX8" fmla="*/ 9170777 w 9221783"/>
              <a:gd name="connsiteY8" fmla="*/ 1662699 h 2121727"/>
              <a:gd name="connsiteX9" fmla="*/ 9221783 w 9221783"/>
              <a:gd name="connsiteY9" fmla="*/ 0 h 2121727"/>
              <a:gd name="connsiteX10" fmla="*/ 20402 w 9221783"/>
              <a:gd name="connsiteY10" fmla="*/ 40802 h 2121727"/>
              <a:gd name="connsiteX11" fmla="*/ 0 w 9221783"/>
              <a:gd name="connsiteY11" fmla="*/ 1836110 h 2121727"/>
              <a:gd name="connsiteX0" fmla="*/ 0 w 9170777"/>
              <a:gd name="connsiteY0" fmla="*/ 1795308 h 2080925"/>
              <a:gd name="connsiteX1" fmla="*/ 1168024 w 9170777"/>
              <a:gd name="connsiteY1" fmla="*/ 1540293 h 2080925"/>
              <a:gd name="connsiteX2" fmla="*/ 1994312 w 9170777"/>
              <a:gd name="connsiteY2" fmla="*/ 1494390 h 2080925"/>
              <a:gd name="connsiteX3" fmla="*/ 2693087 w 9170777"/>
              <a:gd name="connsiteY3" fmla="*/ 1509691 h 2080925"/>
              <a:gd name="connsiteX4" fmla="*/ 4141641 w 9170777"/>
              <a:gd name="connsiteY4" fmla="*/ 1790208 h 2080925"/>
              <a:gd name="connsiteX5" fmla="*/ 5212756 w 9170777"/>
              <a:gd name="connsiteY5" fmla="*/ 2035022 h 2080925"/>
              <a:gd name="connsiteX6" fmla="*/ 7043851 w 9170777"/>
              <a:gd name="connsiteY6" fmla="*/ 2080925 h 2080925"/>
              <a:gd name="connsiteX7" fmla="*/ 8844343 w 9170777"/>
              <a:gd name="connsiteY7" fmla="*/ 1825910 h 2080925"/>
              <a:gd name="connsiteX8" fmla="*/ 9170777 w 9170777"/>
              <a:gd name="connsiteY8" fmla="*/ 1621897 h 2080925"/>
              <a:gd name="connsiteX9" fmla="*/ 9119772 w 9170777"/>
              <a:gd name="connsiteY9" fmla="*/ 61204 h 2080925"/>
              <a:gd name="connsiteX10" fmla="*/ 20402 w 9170777"/>
              <a:gd name="connsiteY10" fmla="*/ 0 h 2080925"/>
              <a:gd name="connsiteX11" fmla="*/ 0 w 9170777"/>
              <a:gd name="connsiteY11" fmla="*/ 1795308 h 2080925"/>
              <a:gd name="connsiteX0" fmla="*/ 0 w 9170777"/>
              <a:gd name="connsiteY0" fmla="*/ 1795308 h 2080925"/>
              <a:gd name="connsiteX1" fmla="*/ 1168024 w 9170777"/>
              <a:gd name="connsiteY1" fmla="*/ 1540293 h 2080925"/>
              <a:gd name="connsiteX2" fmla="*/ 1994312 w 9170777"/>
              <a:gd name="connsiteY2" fmla="*/ 1494390 h 2080925"/>
              <a:gd name="connsiteX3" fmla="*/ 2693087 w 9170777"/>
              <a:gd name="connsiteY3" fmla="*/ 1509691 h 2080925"/>
              <a:gd name="connsiteX4" fmla="*/ 4141641 w 9170777"/>
              <a:gd name="connsiteY4" fmla="*/ 1790208 h 2080925"/>
              <a:gd name="connsiteX5" fmla="*/ 5212756 w 9170777"/>
              <a:gd name="connsiteY5" fmla="*/ 2035022 h 2080925"/>
              <a:gd name="connsiteX6" fmla="*/ 7043851 w 9170777"/>
              <a:gd name="connsiteY6" fmla="*/ 2080925 h 2080925"/>
              <a:gd name="connsiteX7" fmla="*/ 8844343 w 9170777"/>
              <a:gd name="connsiteY7" fmla="*/ 1825910 h 2080925"/>
              <a:gd name="connsiteX8" fmla="*/ 9170777 w 9170777"/>
              <a:gd name="connsiteY8" fmla="*/ 1621897 h 2080925"/>
              <a:gd name="connsiteX9" fmla="*/ 9119772 w 9170777"/>
              <a:gd name="connsiteY9" fmla="*/ 61204 h 2080925"/>
              <a:gd name="connsiteX10" fmla="*/ 20402 w 9170777"/>
              <a:gd name="connsiteY10" fmla="*/ 0 h 2080925"/>
              <a:gd name="connsiteX11" fmla="*/ 0 w 9170777"/>
              <a:gd name="connsiteY11" fmla="*/ 1795308 h 2080925"/>
              <a:gd name="connsiteX0" fmla="*/ 0 w 9119859"/>
              <a:gd name="connsiteY0" fmla="*/ 1795308 h 2080925"/>
              <a:gd name="connsiteX1" fmla="*/ 1168024 w 9119859"/>
              <a:gd name="connsiteY1" fmla="*/ 1540293 h 2080925"/>
              <a:gd name="connsiteX2" fmla="*/ 1994312 w 9119859"/>
              <a:gd name="connsiteY2" fmla="*/ 1494390 h 2080925"/>
              <a:gd name="connsiteX3" fmla="*/ 2693087 w 9119859"/>
              <a:gd name="connsiteY3" fmla="*/ 1509691 h 2080925"/>
              <a:gd name="connsiteX4" fmla="*/ 4141641 w 9119859"/>
              <a:gd name="connsiteY4" fmla="*/ 1790208 h 2080925"/>
              <a:gd name="connsiteX5" fmla="*/ 5212756 w 9119859"/>
              <a:gd name="connsiteY5" fmla="*/ 2035022 h 2080925"/>
              <a:gd name="connsiteX6" fmla="*/ 7043851 w 9119859"/>
              <a:gd name="connsiteY6" fmla="*/ 2080925 h 2080925"/>
              <a:gd name="connsiteX7" fmla="*/ 8844343 w 9119859"/>
              <a:gd name="connsiteY7" fmla="*/ 1825910 h 2080925"/>
              <a:gd name="connsiteX8" fmla="*/ 9114671 w 9119859"/>
              <a:gd name="connsiteY8" fmla="*/ 1667800 h 2080925"/>
              <a:gd name="connsiteX9" fmla="*/ 9119772 w 9119859"/>
              <a:gd name="connsiteY9" fmla="*/ 61204 h 2080925"/>
              <a:gd name="connsiteX10" fmla="*/ 20402 w 9119859"/>
              <a:gd name="connsiteY10" fmla="*/ 0 h 2080925"/>
              <a:gd name="connsiteX11" fmla="*/ 0 w 9119859"/>
              <a:gd name="connsiteY11" fmla="*/ 1795308 h 2080925"/>
              <a:gd name="connsiteX0" fmla="*/ 0 w 9120224"/>
              <a:gd name="connsiteY0" fmla="*/ 1795308 h 2080925"/>
              <a:gd name="connsiteX1" fmla="*/ 1168024 w 9120224"/>
              <a:gd name="connsiteY1" fmla="*/ 1540293 h 2080925"/>
              <a:gd name="connsiteX2" fmla="*/ 1994312 w 9120224"/>
              <a:gd name="connsiteY2" fmla="*/ 1494390 h 2080925"/>
              <a:gd name="connsiteX3" fmla="*/ 2693087 w 9120224"/>
              <a:gd name="connsiteY3" fmla="*/ 1509691 h 2080925"/>
              <a:gd name="connsiteX4" fmla="*/ 4141641 w 9120224"/>
              <a:gd name="connsiteY4" fmla="*/ 1790208 h 2080925"/>
              <a:gd name="connsiteX5" fmla="*/ 5212756 w 9120224"/>
              <a:gd name="connsiteY5" fmla="*/ 2035022 h 2080925"/>
              <a:gd name="connsiteX6" fmla="*/ 7043851 w 9120224"/>
              <a:gd name="connsiteY6" fmla="*/ 2080925 h 2080925"/>
              <a:gd name="connsiteX7" fmla="*/ 8844343 w 9120224"/>
              <a:gd name="connsiteY7" fmla="*/ 1825910 h 2080925"/>
              <a:gd name="connsiteX8" fmla="*/ 9114671 w 9120224"/>
              <a:gd name="connsiteY8" fmla="*/ 1667800 h 2080925"/>
              <a:gd name="connsiteX9" fmla="*/ 9119772 w 9120224"/>
              <a:gd name="connsiteY9" fmla="*/ 61204 h 2080925"/>
              <a:gd name="connsiteX10" fmla="*/ 20402 w 9120224"/>
              <a:gd name="connsiteY10" fmla="*/ 0 h 2080925"/>
              <a:gd name="connsiteX11" fmla="*/ 0 w 9120224"/>
              <a:gd name="connsiteY11" fmla="*/ 1795308 h 2080925"/>
              <a:gd name="connsiteX0" fmla="*/ 40949 w 9161173"/>
              <a:gd name="connsiteY0" fmla="*/ 1734116 h 2019733"/>
              <a:gd name="connsiteX1" fmla="*/ 1208973 w 9161173"/>
              <a:gd name="connsiteY1" fmla="*/ 1479101 h 2019733"/>
              <a:gd name="connsiteX2" fmla="*/ 2035261 w 9161173"/>
              <a:gd name="connsiteY2" fmla="*/ 1433198 h 2019733"/>
              <a:gd name="connsiteX3" fmla="*/ 2734036 w 9161173"/>
              <a:gd name="connsiteY3" fmla="*/ 1448499 h 2019733"/>
              <a:gd name="connsiteX4" fmla="*/ 4182590 w 9161173"/>
              <a:gd name="connsiteY4" fmla="*/ 1729016 h 2019733"/>
              <a:gd name="connsiteX5" fmla="*/ 5253705 w 9161173"/>
              <a:gd name="connsiteY5" fmla="*/ 1973830 h 2019733"/>
              <a:gd name="connsiteX6" fmla="*/ 7084800 w 9161173"/>
              <a:gd name="connsiteY6" fmla="*/ 2019733 h 2019733"/>
              <a:gd name="connsiteX7" fmla="*/ 8885292 w 9161173"/>
              <a:gd name="connsiteY7" fmla="*/ 1764718 h 2019733"/>
              <a:gd name="connsiteX8" fmla="*/ 9155620 w 9161173"/>
              <a:gd name="connsiteY8" fmla="*/ 1606608 h 2019733"/>
              <a:gd name="connsiteX9" fmla="*/ 9160721 w 9161173"/>
              <a:gd name="connsiteY9" fmla="*/ 12 h 2019733"/>
              <a:gd name="connsiteX10" fmla="*/ 144 w 9161173"/>
              <a:gd name="connsiteY10" fmla="*/ 35714 h 2019733"/>
              <a:gd name="connsiteX11" fmla="*/ 40949 w 9161173"/>
              <a:gd name="connsiteY11" fmla="*/ 1734116 h 2019733"/>
              <a:gd name="connsiteX0" fmla="*/ 40805 w 9161029"/>
              <a:gd name="connsiteY0" fmla="*/ 17341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35714 h 2019733"/>
              <a:gd name="connsiteX11" fmla="*/ 40805 w 9161029"/>
              <a:gd name="connsiteY11" fmla="*/ 17341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35714 h 2019733"/>
              <a:gd name="connsiteX11" fmla="*/ 0 w 9161029"/>
              <a:gd name="connsiteY11" fmla="*/ 17392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35714 h 2019733"/>
              <a:gd name="connsiteX11" fmla="*/ 0 w 9161029"/>
              <a:gd name="connsiteY11" fmla="*/ 17392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2639 h 2019733"/>
              <a:gd name="connsiteX11" fmla="*/ 0 w 9161029"/>
              <a:gd name="connsiteY11" fmla="*/ 17392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2639 h 2019733"/>
              <a:gd name="connsiteX11" fmla="*/ 0 w 9161029"/>
              <a:gd name="connsiteY11" fmla="*/ 17392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2639 h 2019733"/>
              <a:gd name="connsiteX11" fmla="*/ 0 w 9161029"/>
              <a:gd name="connsiteY11" fmla="*/ 1739216 h 2019733"/>
              <a:gd name="connsiteX0" fmla="*/ 8028 w 9169057"/>
              <a:gd name="connsiteY0" fmla="*/ 1739216 h 2019733"/>
              <a:gd name="connsiteX1" fmla="*/ 1216857 w 9169057"/>
              <a:gd name="connsiteY1" fmla="*/ 1479101 h 2019733"/>
              <a:gd name="connsiteX2" fmla="*/ 2043145 w 9169057"/>
              <a:gd name="connsiteY2" fmla="*/ 1433198 h 2019733"/>
              <a:gd name="connsiteX3" fmla="*/ 2741920 w 9169057"/>
              <a:gd name="connsiteY3" fmla="*/ 1448499 h 2019733"/>
              <a:gd name="connsiteX4" fmla="*/ 4190474 w 9169057"/>
              <a:gd name="connsiteY4" fmla="*/ 1729016 h 2019733"/>
              <a:gd name="connsiteX5" fmla="*/ 5261589 w 9169057"/>
              <a:gd name="connsiteY5" fmla="*/ 1973830 h 2019733"/>
              <a:gd name="connsiteX6" fmla="*/ 7092684 w 9169057"/>
              <a:gd name="connsiteY6" fmla="*/ 2019733 h 2019733"/>
              <a:gd name="connsiteX7" fmla="*/ 8893176 w 9169057"/>
              <a:gd name="connsiteY7" fmla="*/ 1764718 h 2019733"/>
              <a:gd name="connsiteX8" fmla="*/ 9163504 w 9169057"/>
              <a:gd name="connsiteY8" fmla="*/ 1606608 h 2019733"/>
              <a:gd name="connsiteX9" fmla="*/ 9168605 w 9169057"/>
              <a:gd name="connsiteY9" fmla="*/ 12 h 2019733"/>
              <a:gd name="connsiteX10" fmla="*/ 8028 w 9169057"/>
              <a:gd name="connsiteY10" fmla="*/ 2639 h 2019733"/>
              <a:gd name="connsiteX11" fmla="*/ 8028 w 9169057"/>
              <a:gd name="connsiteY11" fmla="*/ 1739216 h 2019733"/>
              <a:gd name="connsiteX0" fmla="*/ 737673 w 9898702"/>
              <a:gd name="connsiteY0" fmla="*/ 1739216 h 2019733"/>
              <a:gd name="connsiteX1" fmla="*/ 1946502 w 9898702"/>
              <a:gd name="connsiteY1" fmla="*/ 1479101 h 2019733"/>
              <a:gd name="connsiteX2" fmla="*/ 2772790 w 9898702"/>
              <a:gd name="connsiteY2" fmla="*/ 1433198 h 2019733"/>
              <a:gd name="connsiteX3" fmla="*/ 3471565 w 9898702"/>
              <a:gd name="connsiteY3" fmla="*/ 1448499 h 2019733"/>
              <a:gd name="connsiteX4" fmla="*/ 4920119 w 9898702"/>
              <a:gd name="connsiteY4" fmla="*/ 1729016 h 2019733"/>
              <a:gd name="connsiteX5" fmla="*/ 5991234 w 9898702"/>
              <a:gd name="connsiteY5" fmla="*/ 1973830 h 2019733"/>
              <a:gd name="connsiteX6" fmla="*/ 7822329 w 9898702"/>
              <a:gd name="connsiteY6" fmla="*/ 2019733 h 2019733"/>
              <a:gd name="connsiteX7" fmla="*/ 9622821 w 9898702"/>
              <a:gd name="connsiteY7" fmla="*/ 1764718 h 2019733"/>
              <a:gd name="connsiteX8" fmla="*/ 9893149 w 9898702"/>
              <a:gd name="connsiteY8" fmla="*/ 1606608 h 2019733"/>
              <a:gd name="connsiteX9" fmla="*/ 9898250 w 9898702"/>
              <a:gd name="connsiteY9" fmla="*/ 12 h 2019733"/>
              <a:gd name="connsiteX10" fmla="*/ 737673 w 9898702"/>
              <a:gd name="connsiteY10" fmla="*/ 2639 h 2019733"/>
              <a:gd name="connsiteX11" fmla="*/ 737673 w 9898702"/>
              <a:gd name="connsiteY11" fmla="*/ 1739216 h 2019733"/>
              <a:gd name="connsiteX0" fmla="*/ 753082 w 9914111"/>
              <a:gd name="connsiteY0" fmla="*/ 1739216 h 2019733"/>
              <a:gd name="connsiteX1" fmla="*/ 1961911 w 9914111"/>
              <a:gd name="connsiteY1" fmla="*/ 1479101 h 2019733"/>
              <a:gd name="connsiteX2" fmla="*/ 2788199 w 9914111"/>
              <a:gd name="connsiteY2" fmla="*/ 1433198 h 2019733"/>
              <a:gd name="connsiteX3" fmla="*/ 3486974 w 9914111"/>
              <a:gd name="connsiteY3" fmla="*/ 1448499 h 2019733"/>
              <a:gd name="connsiteX4" fmla="*/ 4935528 w 9914111"/>
              <a:gd name="connsiteY4" fmla="*/ 1729016 h 2019733"/>
              <a:gd name="connsiteX5" fmla="*/ 6006643 w 9914111"/>
              <a:gd name="connsiteY5" fmla="*/ 1973830 h 2019733"/>
              <a:gd name="connsiteX6" fmla="*/ 7837738 w 9914111"/>
              <a:gd name="connsiteY6" fmla="*/ 2019733 h 2019733"/>
              <a:gd name="connsiteX7" fmla="*/ 9638230 w 9914111"/>
              <a:gd name="connsiteY7" fmla="*/ 1764718 h 2019733"/>
              <a:gd name="connsiteX8" fmla="*/ 9908558 w 9914111"/>
              <a:gd name="connsiteY8" fmla="*/ 1606608 h 2019733"/>
              <a:gd name="connsiteX9" fmla="*/ 9913659 w 9914111"/>
              <a:gd name="connsiteY9" fmla="*/ 12 h 2019733"/>
              <a:gd name="connsiteX10" fmla="*/ 753082 w 9914111"/>
              <a:gd name="connsiteY10" fmla="*/ 2639 h 2019733"/>
              <a:gd name="connsiteX11" fmla="*/ 753082 w 9914111"/>
              <a:gd name="connsiteY11" fmla="*/ 1739216 h 2019733"/>
              <a:gd name="connsiteX0" fmla="*/ 678562 w 9839591"/>
              <a:gd name="connsiteY0" fmla="*/ 1739216 h 2019733"/>
              <a:gd name="connsiteX1" fmla="*/ 1887391 w 9839591"/>
              <a:gd name="connsiteY1" fmla="*/ 1479101 h 2019733"/>
              <a:gd name="connsiteX2" fmla="*/ 2713679 w 9839591"/>
              <a:gd name="connsiteY2" fmla="*/ 1433198 h 2019733"/>
              <a:gd name="connsiteX3" fmla="*/ 3412454 w 9839591"/>
              <a:gd name="connsiteY3" fmla="*/ 1448499 h 2019733"/>
              <a:gd name="connsiteX4" fmla="*/ 4861008 w 9839591"/>
              <a:gd name="connsiteY4" fmla="*/ 1729016 h 2019733"/>
              <a:gd name="connsiteX5" fmla="*/ 5932123 w 9839591"/>
              <a:gd name="connsiteY5" fmla="*/ 1973830 h 2019733"/>
              <a:gd name="connsiteX6" fmla="*/ 7763218 w 9839591"/>
              <a:gd name="connsiteY6" fmla="*/ 2019733 h 2019733"/>
              <a:gd name="connsiteX7" fmla="*/ 9563710 w 9839591"/>
              <a:gd name="connsiteY7" fmla="*/ 1764718 h 2019733"/>
              <a:gd name="connsiteX8" fmla="*/ 9834038 w 9839591"/>
              <a:gd name="connsiteY8" fmla="*/ 1606608 h 2019733"/>
              <a:gd name="connsiteX9" fmla="*/ 9839139 w 9839591"/>
              <a:gd name="connsiteY9" fmla="*/ 12 h 2019733"/>
              <a:gd name="connsiteX10" fmla="*/ 678562 w 9839591"/>
              <a:gd name="connsiteY10" fmla="*/ 2639 h 2019733"/>
              <a:gd name="connsiteX11" fmla="*/ 678562 w 9839591"/>
              <a:gd name="connsiteY11" fmla="*/ 1739216 h 2019733"/>
              <a:gd name="connsiteX0" fmla="*/ 0 w 9161029"/>
              <a:gd name="connsiteY0" fmla="*/ 1739216 h 2019733"/>
              <a:gd name="connsiteX1" fmla="*/ 1208829 w 9161029"/>
              <a:gd name="connsiteY1" fmla="*/ 1479101 h 2019733"/>
              <a:gd name="connsiteX2" fmla="*/ 2035117 w 9161029"/>
              <a:gd name="connsiteY2" fmla="*/ 1433198 h 2019733"/>
              <a:gd name="connsiteX3" fmla="*/ 2733892 w 9161029"/>
              <a:gd name="connsiteY3" fmla="*/ 1448499 h 2019733"/>
              <a:gd name="connsiteX4" fmla="*/ 4182446 w 9161029"/>
              <a:gd name="connsiteY4" fmla="*/ 1729016 h 2019733"/>
              <a:gd name="connsiteX5" fmla="*/ 5253561 w 9161029"/>
              <a:gd name="connsiteY5" fmla="*/ 1973830 h 2019733"/>
              <a:gd name="connsiteX6" fmla="*/ 7084656 w 9161029"/>
              <a:gd name="connsiteY6" fmla="*/ 2019733 h 2019733"/>
              <a:gd name="connsiteX7" fmla="*/ 8885148 w 9161029"/>
              <a:gd name="connsiteY7" fmla="*/ 1764718 h 2019733"/>
              <a:gd name="connsiteX8" fmla="*/ 9155476 w 9161029"/>
              <a:gd name="connsiteY8" fmla="*/ 1606608 h 2019733"/>
              <a:gd name="connsiteX9" fmla="*/ 9160577 w 9161029"/>
              <a:gd name="connsiteY9" fmla="*/ 12 h 2019733"/>
              <a:gd name="connsiteX10" fmla="*/ 0 w 9161029"/>
              <a:gd name="connsiteY10" fmla="*/ 2639 h 2019733"/>
              <a:gd name="connsiteX11" fmla="*/ 0 w 9161029"/>
              <a:gd name="connsiteY11" fmla="*/ 1739216 h 2019733"/>
              <a:gd name="connsiteX0" fmla="*/ 0 w 9160577"/>
              <a:gd name="connsiteY0" fmla="*/ 1739204 h 2019721"/>
              <a:gd name="connsiteX1" fmla="*/ 1208829 w 9160577"/>
              <a:gd name="connsiteY1" fmla="*/ 1479089 h 2019721"/>
              <a:gd name="connsiteX2" fmla="*/ 2035117 w 9160577"/>
              <a:gd name="connsiteY2" fmla="*/ 1433186 h 2019721"/>
              <a:gd name="connsiteX3" fmla="*/ 2733892 w 9160577"/>
              <a:gd name="connsiteY3" fmla="*/ 1448487 h 2019721"/>
              <a:gd name="connsiteX4" fmla="*/ 4182446 w 9160577"/>
              <a:gd name="connsiteY4" fmla="*/ 1729004 h 2019721"/>
              <a:gd name="connsiteX5" fmla="*/ 5253561 w 9160577"/>
              <a:gd name="connsiteY5" fmla="*/ 1973818 h 2019721"/>
              <a:gd name="connsiteX6" fmla="*/ 7084656 w 9160577"/>
              <a:gd name="connsiteY6" fmla="*/ 2019721 h 2019721"/>
              <a:gd name="connsiteX7" fmla="*/ 8885148 w 9160577"/>
              <a:gd name="connsiteY7" fmla="*/ 1764706 h 2019721"/>
              <a:gd name="connsiteX8" fmla="*/ 9155476 w 9160577"/>
              <a:gd name="connsiteY8" fmla="*/ 1606596 h 2019721"/>
              <a:gd name="connsiteX9" fmla="*/ 9160577 w 9160577"/>
              <a:gd name="connsiteY9" fmla="*/ 0 h 2019721"/>
              <a:gd name="connsiteX10" fmla="*/ 0 w 9160577"/>
              <a:gd name="connsiteY10" fmla="*/ 2627 h 2019721"/>
              <a:gd name="connsiteX11" fmla="*/ 0 w 9160577"/>
              <a:gd name="connsiteY11" fmla="*/ 1739204 h 2019721"/>
              <a:gd name="connsiteX0" fmla="*/ 0 w 9160577"/>
              <a:gd name="connsiteY0" fmla="*/ 1739204 h 2019721"/>
              <a:gd name="connsiteX1" fmla="*/ 1208829 w 9160577"/>
              <a:gd name="connsiteY1" fmla="*/ 1479089 h 2019721"/>
              <a:gd name="connsiteX2" fmla="*/ 2035117 w 9160577"/>
              <a:gd name="connsiteY2" fmla="*/ 1433186 h 2019721"/>
              <a:gd name="connsiteX3" fmla="*/ 2733892 w 9160577"/>
              <a:gd name="connsiteY3" fmla="*/ 1448487 h 2019721"/>
              <a:gd name="connsiteX4" fmla="*/ 4182446 w 9160577"/>
              <a:gd name="connsiteY4" fmla="*/ 1729004 h 2019721"/>
              <a:gd name="connsiteX5" fmla="*/ 5253561 w 9160577"/>
              <a:gd name="connsiteY5" fmla="*/ 1973818 h 2019721"/>
              <a:gd name="connsiteX6" fmla="*/ 7084656 w 9160577"/>
              <a:gd name="connsiteY6" fmla="*/ 2019721 h 2019721"/>
              <a:gd name="connsiteX7" fmla="*/ 8885148 w 9160577"/>
              <a:gd name="connsiteY7" fmla="*/ 1764706 h 2019721"/>
              <a:gd name="connsiteX8" fmla="*/ 9155476 w 9160577"/>
              <a:gd name="connsiteY8" fmla="*/ 1606596 h 2019721"/>
              <a:gd name="connsiteX9" fmla="*/ 9160577 w 9160577"/>
              <a:gd name="connsiteY9" fmla="*/ 0 h 2019721"/>
              <a:gd name="connsiteX10" fmla="*/ 0 w 9160577"/>
              <a:gd name="connsiteY10" fmla="*/ 2627 h 2019721"/>
              <a:gd name="connsiteX11" fmla="*/ 0 w 9160577"/>
              <a:gd name="connsiteY11" fmla="*/ 1739204 h 2019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160577" h="2019721">
                <a:moveTo>
                  <a:pt x="0" y="1739204"/>
                </a:moveTo>
                <a:lnTo>
                  <a:pt x="1208829" y="1479089"/>
                </a:lnTo>
                <a:lnTo>
                  <a:pt x="2035117" y="1433186"/>
                </a:lnTo>
                <a:lnTo>
                  <a:pt x="2733892" y="1448487"/>
                </a:lnTo>
                <a:lnTo>
                  <a:pt x="4182446" y="1729004"/>
                </a:lnTo>
                <a:lnTo>
                  <a:pt x="5253561" y="1973818"/>
                </a:lnTo>
                <a:lnTo>
                  <a:pt x="7084656" y="2019721"/>
                </a:lnTo>
                <a:lnTo>
                  <a:pt x="8885148" y="1764706"/>
                </a:lnTo>
                <a:lnTo>
                  <a:pt x="9155476" y="1606596"/>
                </a:lnTo>
                <a:cubicBezTo>
                  <a:pt x="9158026" y="803298"/>
                  <a:pt x="9158026" y="803298"/>
                  <a:pt x="9160577" y="0"/>
                </a:cubicBezTo>
                <a:lnTo>
                  <a:pt x="0" y="2627"/>
                </a:lnTo>
                <a:lnTo>
                  <a:pt x="0" y="17392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7" descr="_0000_NHSBT_Ribbon_NHS_Blue_RGB_WhiteAbv_DRAFT.png">
            <a:extLst>
              <a:ext uri="{FF2B5EF4-FFF2-40B4-BE49-F238E27FC236}">
                <a16:creationId xmlns:a16="http://schemas.microsoft.com/office/drawing/2014/main" id="{01424E6D-6FFD-422E-AEA2-49A287E9460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350" y="-9525"/>
            <a:ext cx="12212638" cy="2660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2">
            <a:extLst>
              <a:ext uri="{FF2B5EF4-FFF2-40B4-BE49-F238E27FC236}">
                <a16:creationId xmlns:a16="http://schemas.microsoft.com/office/drawing/2014/main" id="{D8A2BB66-4BF7-493F-BCB6-B3F955D27B2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77388" y="504825"/>
            <a:ext cx="2058987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6900" y="2736419"/>
            <a:ext cx="10363200" cy="1470661"/>
          </a:xfrm>
        </p:spPr>
        <p:txBody>
          <a:bodyPr/>
          <a:lstStyle>
            <a:lvl1pPr algn="l">
              <a:defRPr sz="33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6900" y="4407335"/>
            <a:ext cx="10363200" cy="669607"/>
          </a:xfrm>
        </p:spPr>
        <p:txBody>
          <a:bodyPr/>
          <a:lstStyle>
            <a:lvl1pPr marL="0" indent="0" algn="l">
              <a:buNone/>
              <a:defRPr sz="2700">
                <a:solidFill>
                  <a:schemeClr val="bg1"/>
                </a:solidFill>
              </a:defRPr>
            </a:lvl1pPr>
            <a:lvl2pPr marL="357165" indent="0">
              <a:buNone/>
              <a:defRPr sz="1406">
                <a:solidFill>
                  <a:schemeClr val="tx1">
                    <a:tint val="75000"/>
                  </a:schemeClr>
                </a:solidFill>
              </a:defRPr>
            </a:lvl2pPr>
            <a:lvl3pPr marL="714329" indent="0">
              <a:buNone/>
              <a:defRPr sz="1250">
                <a:solidFill>
                  <a:schemeClr val="tx1">
                    <a:tint val="75000"/>
                  </a:schemeClr>
                </a:solidFill>
              </a:defRPr>
            </a:lvl3pPr>
            <a:lvl4pPr marL="1071494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4pPr>
            <a:lvl5pPr marL="1428659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5pPr>
            <a:lvl6pPr marL="1785824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6pPr>
            <a:lvl7pPr marL="2142988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7pPr>
            <a:lvl8pPr marL="2500153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8pPr>
            <a:lvl9pPr marL="2857317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0"/>
          </p:nvPr>
        </p:nvSpPr>
        <p:spPr>
          <a:xfrm>
            <a:off x="596900" y="5289558"/>
            <a:ext cx="10363200" cy="669607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357165" indent="0">
              <a:buNone/>
              <a:defRPr sz="1406">
                <a:solidFill>
                  <a:schemeClr val="tx1">
                    <a:tint val="75000"/>
                  </a:schemeClr>
                </a:solidFill>
              </a:defRPr>
            </a:lvl2pPr>
            <a:lvl3pPr marL="714329" indent="0">
              <a:buNone/>
              <a:defRPr sz="1250">
                <a:solidFill>
                  <a:schemeClr val="tx1">
                    <a:tint val="75000"/>
                  </a:schemeClr>
                </a:solidFill>
              </a:defRPr>
            </a:lvl3pPr>
            <a:lvl4pPr marL="1071494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4pPr>
            <a:lvl5pPr marL="1428659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5pPr>
            <a:lvl6pPr marL="1785824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6pPr>
            <a:lvl7pPr marL="2142988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7pPr>
            <a:lvl8pPr marL="2500153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8pPr>
            <a:lvl9pPr marL="2857317" indent="0">
              <a:buNone/>
              <a:defRPr sz="109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068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96EE0-5870-6D4A-B5A7-AB9006859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36B84D2-D96C-EA48-B35B-6C784E4173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F8977-2BF9-5049-ABDF-5531E86C8FAF}" type="datetimeFigureOut">
              <a:rPr lang="en-GB" smtClean="0"/>
              <a:t>08/02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B632A8-3DDE-3043-9F01-D2224631F4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F1D392-41A6-C74B-9EA9-EEA5596D0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9411B2-EAC1-5543-9471-EF8DAB78A27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9719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0CDA1D8-670C-0F4F-BA2D-D640B9CF4B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F8977-2BF9-5049-ABDF-5531E86C8FAF}" type="datetimeFigureOut">
              <a:rPr lang="en-GB" smtClean="0"/>
              <a:t>08/02/2022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C38C64E-5A74-1042-87E4-4D8D5A85A9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C4942C-C832-7549-AE29-8625B93723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9411B2-EAC1-5543-9471-EF8DAB78A27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73574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C35A3A-34FB-1E4A-BDEE-96B32BC814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CD50D5-62D4-3749-A30F-0495BEA43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217B96-4F17-454B-810B-C135E03743A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FED26E-DEA0-6147-8ED3-675CF02899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F8977-2BF9-5049-ABDF-5531E86C8FAF}" type="datetimeFigureOut">
              <a:rPr lang="en-GB" smtClean="0"/>
              <a:t>08/02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44F208-B96D-C84C-90C0-08FF3E0F83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803C14-B64D-814A-B740-B12E187D53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9411B2-EAC1-5543-9471-EF8DAB78A27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02052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5FD5F1-4CF4-4E48-A248-83C7AA77B9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1F9A5B8-5290-6D48-9858-9C95D396807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C616ED-0EC3-0A4C-9C9C-78BD6EF53D7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474CB8-CCD9-3C4F-A818-8CE1A3E12D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F8977-2BF9-5049-ABDF-5531E86C8FAF}" type="datetimeFigureOut">
              <a:rPr lang="en-GB" smtClean="0"/>
              <a:t>08/02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51752C-9023-294A-A93A-5CBAC081B0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A48353-DD95-FD4C-A390-15850AF1F1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9411B2-EAC1-5543-9471-EF8DAB78A27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43889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image" Target="../media/image6.jpe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7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40.xml"/><Relationship Id="rId16" Type="http://schemas.openxmlformats.org/officeDocument/2006/relationships/tags" Target="../tags/tag8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8.xml"/><Relationship Id="rId19" Type="http://schemas.openxmlformats.org/officeDocument/2006/relationships/image" Target="../media/image9.jpeg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567EE17-1B28-9547-A748-E62E3441C1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9AAB7B-236E-9C44-AFD9-A1C2C0EB03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38A4AB-4CB8-6840-8E65-0BFC55EF11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4F8977-2BF9-5049-ABDF-5531E86C8FAF}" type="datetimeFigureOut">
              <a:rPr lang="en-GB" smtClean="0"/>
              <a:t>08/02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B23043-ECD4-3046-9CFB-0E3A0B8ACB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45979-E783-D144-9FFA-38D803F5E2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9411B2-EAC1-5543-9471-EF8DAB78A27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7053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>
            <a:extLst>
              <a:ext uri="{FF2B5EF4-FFF2-40B4-BE49-F238E27FC236}">
                <a16:creationId xmlns:a16="http://schemas.microsoft.com/office/drawing/2014/main" id="{C9CE93C0-2763-4180-9473-09F8002D805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0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pic>
        <p:nvPicPr>
          <p:cNvPr id="1027" name="Picture 11">
            <a:extLst>
              <a:ext uri="{FF2B5EF4-FFF2-40B4-BE49-F238E27FC236}">
                <a16:creationId xmlns:a16="http://schemas.microsoft.com/office/drawing/2014/main" id="{B7E252D3-346D-4187-8697-BF0F32F03C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738" y="908050"/>
            <a:ext cx="12074525" cy="5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7" name="Rectangle 5">
            <a:extLst>
              <a:ext uri="{FF2B5EF4-FFF2-40B4-BE49-F238E27FC236}">
                <a16:creationId xmlns:a16="http://schemas.microsoft.com/office/drawing/2014/main" id="{A9B98ED5-F898-42E0-BD16-EA80DC0D4DCE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0" y="6429375"/>
            <a:ext cx="12192000" cy="428625"/>
          </a:xfrm>
          <a:prstGeom prst="rect">
            <a:avLst/>
          </a:prstGeom>
          <a:solidFill>
            <a:srgbClr val="0065CC"/>
          </a:solidFill>
          <a:ln w="9525">
            <a:solidFill>
              <a:srgbClr val="0065CC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797175" indent="-51117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3254375" indent="-51117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711575" indent="-51117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4168775" indent="-51117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marR="0" lvl="0" indent="0" algn="l" defTabSz="9524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66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21" name="Slide Number">
            <a:extLst>
              <a:ext uri="{FF2B5EF4-FFF2-40B4-BE49-F238E27FC236}">
                <a16:creationId xmlns:a16="http://schemas.microsoft.com/office/drawing/2014/main" id="{3F72D362-C867-416C-BC5F-A86745AC2A9D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11723688" y="6561138"/>
            <a:ext cx="163512" cy="160337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524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3DBA7-4934-43BC-B631-1DECC21AAD1F}" type="slidenum">
              <a:rPr kumimoji="0" lang="en-GB" altLang="en-US" sz="1042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pPr marL="0" marR="0" lvl="0" indent="0" algn="r" defTabSz="9524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altLang="en-US" sz="1042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2059" name="Rectangle 2">
            <a:extLst>
              <a:ext uri="{FF2B5EF4-FFF2-40B4-BE49-F238E27FC236}">
                <a16:creationId xmlns:a16="http://schemas.microsoft.com/office/drawing/2014/main" id="{CB035711-0DCF-40F5-96F2-46EB3F40BB1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4638"/>
            <a:ext cx="9844088" cy="63341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31" name="TextBox 8">
            <a:extLst>
              <a:ext uri="{FF2B5EF4-FFF2-40B4-BE49-F238E27FC236}">
                <a16:creationId xmlns:a16="http://schemas.microsoft.com/office/drawing/2014/main" id="{C37012DB-3326-4D87-9779-E3E773D88D4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92125" y="6508750"/>
            <a:ext cx="112077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ibute to Life</a:t>
            </a:r>
          </a:p>
        </p:txBody>
      </p:sp>
    </p:spTree>
    <p:extLst>
      <p:ext uri="{BB962C8B-B14F-4D97-AF65-F5344CB8AC3E}">
        <p14:creationId xmlns:p14="http://schemas.microsoft.com/office/powerpoint/2010/main" val="1975688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rgbClr val="0066CC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rgbClr val="0066CC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rgbClr val="0066CC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rgbClr val="0066CC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rgbClr val="0066CC"/>
          </a:solidFill>
          <a:latin typeface="Arial" pitchFamily="34" charset="0"/>
        </a:defRPr>
      </a:lvl5pPr>
      <a:lvl6pPr marL="476220" algn="l" rtl="0" fontAlgn="base">
        <a:spcBef>
          <a:spcPct val="0"/>
        </a:spcBef>
        <a:spcAft>
          <a:spcPct val="0"/>
        </a:spcAft>
        <a:defRPr sz="3333" b="1">
          <a:solidFill>
            <a:srgbClr val="0066CC"/>
          </a:solidFill>
          <a:latin typeface="Arial" pitchFamily="34" charset="0"/>
        </a:defRPr>
      </a:lvl6pPr>
      <a:lvl7pPr marL="952439" algn="l" rtl="0" fontAlgn="base">
        <a:spcBef>
          <a:spcPct val="0"/>
        </a:spcBef>
        <a:spcAft>
          <a:spcPct val="0"/>
        </a:spcAft>
        <a:defRPr sz="3333" b="1">
          <a:solidFill>
            <a:srgbClr val="0066CC"/>
          </a:solidFill>
          <a:latin typeface="Arial" pitchFamily="34" charset="0"/>
        </a:defRPr>
      </a:lvl7pPr>
      <a:lvl8pPr marL="1428659" algn="l" rtl="0" fontAlgn="base">
        <a:spcBef>
          <a:spcPct val="0"/>
        </a:spcBef>
        <a:spcAft>
          <a:spcPct val="0"/>
        </a:spcAft>
        <a:defRPr sz="3333" b="1">
          <a:solidFill>
            <a:srgbClr val="0066CC"/>
          </a:solidFill>
          <a:latin typeface="Arial" pitchFamily="34" charset="0"/>
        </a:defRPr>
      </a:lvl8pPr>
      <a:lvl9pPr marL="1904878" algn="l" rtl="0" fontAlgn="base">
        <a:spcBef>
          <a:spcPct val="0"/>
        </a:spcBef>
        <a:spcAft>
          <a:spcPct val="0"/>
        </a:spcAft>
        <a:defRPr sz="3333" b="1">
          <a:solidFill>
            <a:srgbClr val="0066CC"/>
          </a:solidFill>
          <a:latin typeface="Arial" pitchFamily="34" charset="0"/>
        </a:defRPr>
      </a:lvl9pPr>
    </p:titleStyle>
    <p:bodyStyle>
      <a:lvl1pPr marL="355600" indent="-355600" algn="l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73113" indent="-296863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89038" indent="-236538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65288" indent="-236538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141538" indent="-236538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619207" indent="-238110" algn="l" rtl="0" fontAlgn="base">
        <a:spcBef>
          <a:spcPct val="20000"/>
        </a:spcBef>
        <a:spcAft>
          <a:spcPct val="0"/>
        </a:spcAft>
        <a:buChar char="»"/>
        <a:defRPr sz="2083">
          <a:solidFill>
            <a:schemeClr val="tx1"/>
          </a:solidFill>
          <a:latin typeface="+mn-lt"/>
        </a:defRPr>
      </a:lvl6pPr>
      <a:lvl7pPr marL="3095427" indent="-238110" algn="l" rtl="0" fontAlgn="base">
        <a:spcBef>
          <a:spcPct val="20000"/>
        </a:spcBef>
        <a:spcAft>
          <a:spcPct val="0"/>
        </a:spcAft>
        <a:buChar char="»"/>
        <a:defRPr sz="2083">
          <a:solidFill>
            <a:schemeClr val="tx1"/>
          </a:solidFill>
          <a:latin typeface="+mn-lt"/>
        </a:defRPr>
      </a:lvl7pPr>
      <a:lvl8pPr marL="3571646" indent="-238110" algn="l" rtl="0" fontAlgn="base">
        <a:spcBef>
          <a:spcPct val="20000"/>
        </a:spcBef>
        <a:spcAft>
          <a:spcPct val="0"/>
        </a:spcAft>
        <a:buChar char="»"/>
        <a:defRPr sz="2083">
          <a:solidFill>
            <a:schemeClr val="tx1"/>
          </a:solidFill>
          <a:latin typeface="+mn-lt"/>
        </a:defRPr>
      </a:lvl8pPr>
      <a:lvl9pPr marL="4047866" indent="-238110" algn="l" rtl="0" fontAlgn="base">
        <a:spcBef>
          <a:spcPct val="20000"/>
        </a:spcBef>
        <a:spcAft>
          <a:spcPct val="0"/>
        </a:spcAft>
        <a:buChar char="»"/>
        <a:defRPr sz="208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52439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1pPr>
      <a:lvl2pPr marL="476220" algn="l" defTabSz="952439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2pPr>
      <a:lvl3pPr marL="952439" algn="l" defTabSz="952439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3pPr>
      <a:lvl4pPr marL="1428659" algn="l" defTabSz="952439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4pPr>
      <a:lvl5pPr marL="1904878" algn="l" defTabSz="952439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5pPr>
      <a:lvl6pPr marL="2381098" algn="l" defTabSz="952439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6pPr>
      <a:lvl7pPr marL="2857317" algn="l" defTabSz="952439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7pPr>
      <a:lvl8pPr marL="3333537" algn="l" defTabSz="952439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8pPr>
      <a:lvl9pPr marL="3809756" algn="l" defTabSz="952439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3">
            <a:extLst>
              <a:ext uri="{FF2B5EF4-FFF2-40B4-BE49-F238E27FC236}">
                <a16:creationId xmlns:a16="http://schemas.microsoft.com/office/drawing/2014/main" id="{72EB2811-0865-423B-8858-4C050E873D3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10181" y="1600808"/>
            <a:ext cx="10971641" cy="4524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pic>
        <p:nvPicPr>
          <p:cNvPr id="2054" name="Picture 11">
            <a:extLst>
              <a:ext uri="{FF2B5EF4-FFF2-40B4-BE49-F238E27FC236}">
                <a16:creationId xmlns:a16="http://schemas.microsoft.com/office/drawing/2014/main" id="{533489FA-DF5E-41B1-89AA-6FD7E0EE78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664" y="907896"/>
            <a:ext cx="12074672" cy="524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7" name="Rectangle 5">
            <a:extLst>
              <a:ext uri="{FF2B5EF4-FFF2-40B4-BE49-F238E27FC236}">
                <a16:creationId xmlns:a16="http://schemas.microsoft.com/office/drawing/2014/main" id="{9BF2F789-07ED-4918-A2B1-BCAAA141D513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0" y="6429685"/>
            <a:ext cx="12192000" cy="428315"/>
          </a:xfrm>
          <a:prstGeom prst="rect">
            <a:avLst/>
          </a:prstGeom>
          <a:solidFill>
            <a:srgbClr val="0065CC"/>
          </a:solidFill>
          <a:ln w="9525">
            <a:solidFill>
              <a:srgbClr val="0065CC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797175" indent="-51117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3254375" indent="-51117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711575" indent="-51117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4168775" indent="-51117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952415" eaLnBrk="1" hangingPunct="1">
              <a:defRPr/>
            </a:pPr>
            <a:endParaRPr lang="en-US" altLang="en-US" sz="1667">
              <a:solidFill>
                <a:srgbClr val="000000"/>
              </a:solidFill>
            </a:endParaRPr>
          </a:p>
        </p:txBody>
      </p:sp>
      <p:sp>
        <p:nvSpPr>
          <p:cNvPr id="121" name="Slide Number">
            <a:extLst>
              <a:ext uri="{FF2B5EF4-FFF2-40B4-BE49-F238E27FC236}">
                <a16:creationId xmlns:a16="http://schemas.microsoft.com/office/drawing/2014/main" id="{C32C7684-2B9F-4571-818B-13479CCAC91E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11724232" y="6560249"/>
            <a:ext cx="163506" cy="160493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defTabSz="952415" eaLnBrk="1" hangingPunct="1">
              <a:defRPr/>
            </a:pPr>
            <a:fld id="{81BB4F62-9FFC-4743-8C8A-61E7F6D8B61A}" type="slidenum">
              <a:rPr lang="en-GB" altLang="en-US" sz="1043" smtClean="0">
                <a:solidFill>
                  <a:srgbClr val="FFFFFF"/>
                </a:solidFill>
                <a:cs typeface="Arial" panose="020B0604020202020204" pitchFamily="34" charset="0"/>
              </a:rPr>
              <a:pPr algn="r" defTabSz="952415" eaLnBrk="1" hangingPunct="1">
                <a:defRPr/>
              </a:pPr>
              <a:t>‹#›</a:t>
            </a:fld>
            <a:endParaRPr lang="en-GB" altLang="en-US" sz="1043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059" name="Rectangle 2">
            <a:extLst>
              <a:ext uri="{FF2B5EF4-FFF2-40B4-BE49-F238E27FC236}">
                <a16:creationId xmlns:a16="http://schemas.microsoft.com/office/drawing/2014/main" id="{F8C5C725-2B59-46E2-8757-5EB583597EE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10181" y="274521"/>
            <a:ext cx="9842856" cy="6333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3036" y="143048"/>
            <a:ext cx="1622549" cy="452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728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33" b="1">
          <a:solidFill>
            <a:srgbClr val="0066CC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33" b="1">
          <a:solidFill>
            <a:srgbClr val="0066CC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33" b="1">
          <a:solidFill>
            <a:srgbClr val="0066CC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33" b="1">
          <a:solidFill>
            <a:srgbClr val="0066CC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33" b="1">
          <a:solidFill>
            <a:srgbClr val="0066CC"/>
          </a:solidFill>
          <a:latin typeface="Arial" pitchFamily="34" charset="0"/>
        </a:defRPr>
      </a:lvl5pPr>
      <a:lvl6pPr marL="476208" algn="l" rtl="0" fontAlgn="base">
        <a:spcBef>
          <a:spcPct val="0"/>
        </a:spcBef>
        <a:spcAft>
          <a:spcPct val="0"/>
        </a:spcAft>
        <a:defRPr sz="3333" b="1">
          <a:solidFill>
            <a:srgbClr val="0066CC"/>
          </a:solidFill>
          <a:latin typeface="Arial" pitchFamily="34" charset="0"/>
        </a:defRPr>
      </a:lvl6pPr>
      <a:lvl7pPr marL="952415" algn="l" rtl="0" fontAlgn="base">
        <a:spcBef>
          <a:spcPct val="0"/>
        </a:spcBef>
        <a:spcAft>
          <a:spcPct val="0"/>
        </a:spcAft>
        <a:defRPr sz="3333" b="1">
          <a:solidFill>
            <a:srgbClr val="0066CC"/>
          </a:solidFill>
          <a:latin typeface="Arial" pitchFamily="34" charset="0"/>
        </a:defRPr>
      </a:lvl7pPr>
      <a:lvl8pPr marL="1428623" algn="l" rtl="0" fontAlgn="base">
        <a:spcBef>
          <a:spcPct val="0"/>
        </a:spcBef>
        <a:spcAft>
          <a:spcPct val="0"/>
        </a:spcAft>
        <a:defRPr sz="3333" b="1">
          <a:solidFill>
            <a:srgbClr val="0066CC"/>
          </a:solidFill>
          <a:latin typeface="Arial" pitchFamily="34" charset="0"/>
        </a:defRPr>
      </a:lvl8pPr>
      <a:lvl9pPr marL="1904831" algn="l" rtl="0" fontAlgn="base">
        <a:spcBef>
          <a:spcPct val="0"/>
        </a:spcBef>
        <a:spcAft>
          <a:spcPct val="0"/>
        </a:spcAft>
        <a:defRPr sz="3333" b="1">
          <a:solidFill>
            <a:srgbClr val="0066CC"/>
          </a:solidFill>
          <a:latin typeface="Arial" pitchFamily="34" charset="0"/>
        </a:defRPr>
      </a:lvl9pPr>
    </p:titleStyle>
    <p:bodyStyle>
      <a:lvl1pPr marL="357156" indent="-357156" algn="l" rtl="0" eaLnBrk="0" fontAlgn="base" hangingPunct="0">
        <a:lnSpc>
          <a:spcPct val="150000"/>
        </a:lnSpc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73838" indent="-297630" algn="l" rtl="0" eaLnBrk="0" fontAlgn="base" hangingPunct="0">
        <a:lnSpc>
          <a:spcPct val="150000"/>
        </a:lnSpc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2pPr>
      <a:lvl3pPr marL="1190520" indent="-238105" algn="l" rtl="0" eaLnBrk="0" fontAlgn="base" hangingPunct="0">
        <a:lnSpc>
          <a:spcPct val="150000"/>
        </a:lnSpc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</a:defRPr>
      </a:lvl3pPr>
      <a:lvl4pPr marL="1666726" indent="-238105" algn="l" rtl="0" eaLnBrk="0" fontAlgn="base" hangingPunct="0">
        <a:lnSpc>
          <a:spcPct val="150000"/>
        </a:lnSpc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4pPr>
      <a:lvl5pPr marL="2142934" indent="-238105" algn="l" rtl="0" eaLnBrk="0" fontAlgn="base" hangingPunct="0">
        <a:lnSpc>
          <a:spcPct val="150000"/>
        </a:lnSpc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5pPr>
      <a:lvl6pPr marL="2619141" indent="-238105" algn="l" rtl="0" fontAlgn="base">
        <a:spcBef>
          <a:spcPct val="20000"/>
        </a:spcBef>
        <a:spcAft>
          <a:spcPct val="0"/>
        </a:spcAft>
        <a:buChar char="»"/>
        <a:defRPr sz="2083">
          <a:solidFill>
            <a:schemeClr val="tx1"/>
          </a:solidFill>
          <a:latin typeface="+mn-lt"/>
        </a:defRPr>
      </a:lvl6pPr>
      <a:lvl7pPr marL="3095349" indent="-238105" algn="l" rtl="0" fontAlgn="base">
        <a:spcBef>
          <a:spcPct val="20000"/>
        </a:spcBef>
        <a:spcAft>
          <a:spcPct val="0"/>
        </a:spcAft>
        <a:buChar char="»"/>
        <a:defRPr sz="2083">
          <a:solidFill>
            <a:schemeClr val="tx1"/>
          </a:solidFill>
          <a:latin typeface="+mn-lt"/>
        </a:defRPr>
      </a:lvl7pPr>
      <a:lvl8pPr marL="3571557" indent="-238105" algn="l" rtl="0" fontAlgn="base">
        <a:spcBef>
          <a:spcPct val="20000"/>
        </a:spcBef>
        <a:spcAft>
          <a:spcPct val="0"/>
        </a:spcAft>
        <a:buChar char="»"/>
        <a:defRPr sz="2083">
          <a:solidFill>
            <a:schemeClr val="tx1"/>
          </a:solidFill>
          <a:latin typeface="+mn-lt"/>
        </a:defRPr>
      </a:lvl8pPr>
      <a:lvl9pPr marL="4047765" indent="-238105" algn="l" rtl="0" fontAlgn="base">
        <a:spcBef>
          <a:spcPct val="20000"/>
        </a:spcBef>
        <a:spcAft>
          <a:spcPct val="0"/>
        </a:spcAft>
        <a:buChar char="»"/>
        <a:defRPr sz="208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52415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1pPr>
      <a:lvl2pPr marL="476208" algn="l" defTabSz="952415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2pPr>
      <a:lvl3pPr marL="952415" algn="l" defTabSz="952415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3pPr>
      <a:lvl4pPr marL="1428623" algn="l" defTabSz="952415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4pPr>
      <a:lvl5pPr marL="1904831" algn="l" defTabSz="952415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5pPr>
      <a:lvl6pPr marL="2381039" algn="l" defTabSz="952415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6pPr>
      <a:lvl7pPr marL="2857246" algn="l" defTabSz="952415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7pPr>
      <a:lvl8pPr marL="3333454" algn="l" defTabSz="952415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8pPr>
      <a:lvl9pPr marL="3809661" algn="l" defTabSz="952415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>
            <a:extLst>
              <a:ext uri="{FF2B5EF4-FFF2-40B4-BE49-F238E27FC236}">
                <a16:creationId xmlns:a16="http://schemas.microsoft.com/office/drawing/2014/main" id="{C9CE93C0-2763-4180-9473-09F8002D805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0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pic>
        <p:nvPicPr>
          <p:cNvPr id="1027" name="Picture 11">
            <a:extLst>
              <a:ext uri="{FF2B5EF4-FFF2-40B4-BE49-F238E27FC236}">
                <a16:creationId xmlns:a16="http://schemas.microsoft.com/office/drawing/2014/main" id="{B7E252D3-346D-4187-8697-BF0F32F03C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738" y="908050"/>
            <a:ext cx="12074525" cy="5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7" name="Rectangle 5">
            <a:extLst>
              <a:ext uri="{FF2B5EF4-FFF2-40B4-BE49-F238E27FC236}">
                <a16:creationId xmlns:a16="http://schemas.microsoft.com/office/drawing/2014/main" id="{A9B98ED5-F898-42E0-BD16-EA80DC0D4DCE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0" y="6429375"/>
            <a:ext cx="12192000" cy="428625"/>
          </a:xfrm>
          <a:prstGeom prst="rect">
            <a:avLst/>
          </a:prstGeom>
          <a:solidFill>
            <a:srgbClr val="0065CC"/>
          </a:solidFill>
          <a:ln w="9525">
            <a:solidFill>
              <a:srgbClr val="0065CC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797175" indent="-51117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3254375" indent="-51117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711575" indent="-51117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4168775" indent="-511175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marR="0" lvl="0" indent="0" algn="l" defTabSz="9524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66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21" name="Slide Number">
            <a:extLst>
              <a:ext uri="{FF2B5EF4-FFF2-40B4-BE49-F238E27FC236}">
                <a16:creationId xmlns:a16="http://schemas.microsoft.com/office/drawing/2014/main" id="{3F72D362-C867-416C-BC5F-A86745AC2A9D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11723688" y="6561138"/>
            <a:ext cx="163512" cy="160337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524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3DBA7-4934-43BC-B631-1DECC21AAD1F}" type="slidenum">
              <a:rPr kumimoji="0" lang="en-GB" altLang="en-US" sz="1042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pPr marL="0" marR="0" lvl="0" indent="0" algn="r" defTabSz="9524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altLang="en-US" sz="1042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2059" name="Rectangle 2">
            <a:extLst>
              <a:ext uri="{FF2B5EF4-FFF2-40B4-BE49-F238E27FC236}">
                <a16:creationId xmlns:a16="http://schemas.microsoft.com/office/drawing/2014/main" id="{CB035711-0DCF-40F5-96F2-46EB3F40BB1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4638"/>
            <a:ext cx="9844088" cy="63341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31" name="TextBox 8">
            <a:extLst>
              <a:ext uri="{FF2B5EF4-FFF2-40B4-BE49-F238E27FC236}">
                <a16:creationId xmlns:a16="http://schemas.microsoft.com/office/drawing/2014/main" id="{C37012DB-3326-4D87-9779-E3E773D88D4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92125" y="6508750"/>
            <a:ext cx="112077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ibute to Life – 6th October 2021</a:t>
            </a:r>
          </a:p>
        </p:txBody>
      </p:sp>
      <p:pic>
        <p:nvPicPr>
          <p:cNvPr id="1032" name="Picture 10">
            <a:extLst>
              <a:ext uri="{FF2B5EF4-FFF2-40B4-BE49-F238E27FC236}">
                <a16:creationId xmlns:a16="http://schemas.microsoft.com/office/drawing/2014/main" id="{A2D003DB-DCC8-4E1C-86B1-4BED8253A81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53688" y="142875"/>
            <a:ext cx="1622425" cy="45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9456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rgbClr val="0066CC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rgbClr val="0066CC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rgbClr val="0066CC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rgbClr val="0066CC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 b="1">
          <a:solidFill>
            <a:srgbClr val="0066CC"/>
          </a:solidFill>
          <a:latin typeface="Arial" pitchFamily="34" charset="0"/>
        </a:defRPr>
      </a:lvl5pPr>
      <a:lvl6pPr marL="476220" algn="l" rtl="0" fontAlgn="base">
        <a:spcBef>
          <a:spcPct val="0"/>
        </a:spcBef>
        <a:spcAft>
          <a:spcPct val="0"/>
        </a:spcAft>
        <a:defRPr sz="3333" b="1">
          <a:solidFill>
            <a:srgbClr val="0066CC"/>
          </a:solidFill>
          <a:latin typeface="Arial" pitchFamily="34" charset="0"/>
        </a:defRPr>
      </a:lvl6pPr>
      <a:lvl7pPr marL="952439" algn="l" rtl="0" fontAlgn="base">
        <a:spcBef>
          <a:spcPct val="0"/>
        </a:spcBef>
        <a:spcAft>
          <a:spcPct val="0"/>
        </a:spcAft>
        <a:defRPr sz="3333" b="1">
          <a:solidFill>
            <a:srgbClr val="0066CC"/>
          </a:solidFill>
          <a:latin typeface="Arial" pitchFamily="34" charset="0"/>
        </a:defRPr>
      </a:lvl7pPr>
      <a:lvl8pPr marL="1428659" algn="l" rtl="0" fontAlgn="base">
        <a:spcBef>
          <a:spcPct val="0"/>
        </a:spcBef>
        <a:spcAft>
          <a:spcPct val="0"/>
        </a:spcAft>
        <a:defRPr sz="3333" b="1">
          <a:solidFill>
            <a:srgbClr val="0066CC"/>
          </a:solidFill>
          <a:latin typeface="Arial" pitchFamily="34" charset="0"/>
        </a:defRPr>
      </a:lvl8pPr>
      <a:lvl9pPr marL="1904878" algn="l" rtl="0" fontAlgn="base">
        <a:spcBef>
          <a:spcPct val="0"/>
        </a:spcBef>
        <a:spcAft>
          <a:spcPct val="0"/>
        </a:spcAft>
        <a:defRPr sz="3333" b="1">
          <a:solidFill>
            <a:srgbClr val="0066CC"/>
          </a:solidFill>
          <a:latin typeface="Arial" pitchFamily="34" charset="0"/>
        </a:defRPr>
      </a:lvl9pPr>
    </p:titleStyle>
    <p:bodyStyle>
      <a:lvl1pPr marL="355600" indent="-355600" algn="l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73113" indent="-296863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89038" indent="-236538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65288" indent="-236538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141538" indent="-236538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619207" indent="-238110" algn="l" rtl="0" fontAlgn="base">
        <a:spcBef>
          <a:spcPct val="20000"/>
        </a:spcBef>
        <a:spcAft>
          <a:spcPct val="0"/>
        </a:spcAft>
        <a:buChar char="»"/>
        <a:defRPr sz="2083">
          <a:solidFill>
            <a:schemeClr val="tx1"/>
          </a:solidFill>
          <a:latin typeface="+mn-lt"/>
        </a:defRPr>
      </a:lvl6pPr>
      <a:lvl7pPr marL="3095427" indent="-238110" algn="l" rtl="0" fontAlgn="base">
        <a:spcBef>
          <a:spcPct val="20000"/>
        </a:spcBef>
        <a:spcAft>
          <a:spcPct val="0"/>
        </a:spcAft>
        <a:buChar char="»"/>
        <a:defRPr sz="2083">
          <a:solidFill>
            <a:schemeClr val="tx1"/>
          </a:solidFill>
          <a:latin typeface="+mn-lt"/>
        </a:defRPr>
      </a:lvl7pPr>
      <a:lvl8pPr marL="3571646" indent="-238110" algn="l" rtl="0" fontAlgn="base">
        <a:spcBef>
          <a:spcPct val="20000"/>
        </a:spcBef>
        <a:spcAft>
          <a:spcPct val="0"/>
        </a:spcAft>
        <a:buChar char="»"/>
        <a:defRPr sz="2083">
          <a:solidFill>
            <a:schemeClr val="tx1"/>
          </a:solidFill>
          <a:latin typeface="+mn-lt"/>
        </a:defRPr>
      </a:lvl8pPr>
      <a:lvl9pPr marL="4047866" indent="-238110" algn="l" rtl="0" fontAlgn="base">
        <a:spcBef>
          <a:spcPct val="20000"/>
        </a:spcBef>
        <a:spcAft>
          <a:spcPct val="0"/>
        </a:spcAft>
        <a:buChar char="»"/>
        <a:defRPr sz="208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52439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1pPr>
      <a:lvl2pPr marL="476220" algn="l" defTabSz="952439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2pPr>
      <a:lvl3pPr marL="952439" algn="l" defTabSz="952439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3pPr>
      <a:lvl4pPr marL="1428659" algn="l" defTabSz="952439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4pPr>
      <a:lvl5pPr marL="1904878" algn="l" defTabSz="952439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5pPr>
      <a:lvl6pPr marL="2381098" algn="l" defTabSz="952439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6pPr>
      <a:lvl7pPr marL="2857317" algn="l" defTabSz="952439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7pPr>
      <a:lvl8pPr marL="3333537" algn="l" defTabSz="952439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8pPr>
      <a:lvl9pPr marL="3809756" algn="l" defTabSz="952439" rtl="0" eaLnBrk="1" latinLnBrk="0" hangingPunct="1">
        <a:defRPr sz="18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dt.nhs.uk/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youtu.be/C2PCCwuEI0o" TargetMode="Externa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dt.nhs.uk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tiff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13" Type="http://schemas.openxmlformats.org/officeDocument/2006/relationships/image" Target="../media/image25.gif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6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23.pn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22.jpeg"/><Relationship Id="rId4" Type="http://schemas.openxmlformats.org/officeDocument/2006/relationships/diagramLayout" Target="../diagrams/layout1.xml"/><Relationship Id="rId9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09249A4A-94FA-4849-ADD8-3C55715331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785"/>
            <a:ext cx="12192000" cy="685443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EE2102-A29E-4847-B2A6-AD90AF350231}"/>
              </a:ext>
            </a:extLst>
          </p:cNvPr>
          <p:cNvSpPr txBox="1"/>
          <p:nvPr/>
        </p:nvSpPr>
        <p:spPr>
          <a:xfrm>
            <a:off x="6739847" y="123291"/>
            <a:ext cx="503433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4400" dirty="0"/>
              <a:t>Find out more</a:t>
            </a:r>
          </a:p>
          <a:p>
            <a:pPr algn="r"/>
            <a:r>
              <a:rPr lang="en-GB" sz="4400" dirty="0">
                <a:solidFill>
                  <a:srgbClr val="3366BF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odt.nhs.uk</a:t>
            </a:r>
            <a:r>
              <a:rPr lang="en-GB" sz="4400" dirty="0">
                <a:solidFill>
                  <a:srgbClr val="3366BF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1345592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FF5655-90F2-AA4B-B06F-CADDC08888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008259"/>
          </a:xfrm>
        </p:spPr>
        <p:txBody>
          <a:bodyPr>
            <a:normAutofit/>
          </a:bodyPr>
          <a:lstStyle/>
          <a:p>
            <a:r>
              <a:rPr lang="en-GB" dirty="0"/>
              <a:t>CTtL Promotional Video</a:t>
            </a:r>
            <a:br>
              <a:rPr lang="en-GB" dirty="0"/>
            </a:br>
            <a:br>
              <a:rPr lang="en-GB" dirty="0"/>
            </a:br>
            <a:r>
              <a:rPr lang="en-GB" b="1" dirty="0">
                <a:hlinkClick r:id="rId2"/>
              </a:rPr>
              <a:t>https://youtu.be/C2PCCwuEI0o</a:t>
            </a:r>
            <a:r>
              <a:rPr lang="en-GB" b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440933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>
            <a:extLst>
              <a:ext uri="{FF2B5EF4-FFF2-40B4-BE49-F238E27FC236}">
                <a16:creationId xmlns:a16="http://schemas.microsoft.com/office/drawing/2014/main" id="{CD95D21A-F89B-4149-A17D-D5908E78DC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n-GB" sz="4800"/>
              <a:t>Background – our current progress</a:t>
            </a:r>
            <a:endParaRPr lang="en-GB" altLang="en-US" sz="5400">
              <a:solidFill>
                <a:srgbClr val="6E2C6B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B607D38-0896-354F-B81B-45E958BCF4F1}"/>
              </a:ext>
            </a:extLst>
          </p:cNvPr>
          <p:cNvSpPr/>
          <p:nvPr/>
        </p:nvSpPr>
        <p:spPr>
          <a:xfrm>
            <a:off x="606064" y="1071395"/>
            <a:ext cx="6236033" cy="378565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-18034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65CC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Structure of the Tribute to Life Project</a:t>
            </a:r>
          </a:p>
          <a:p>
            <a:pPr marL="16256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Project Board</a:t>
            </a:r>
          </a:p>
          <a:p>
            <a:pPr marL="16256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UK Advisory Panel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imes New Roman"/>
            </a:endParaRPr>
          </a:p>
          <a:p>
            <a:pPr marL="16256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International Advisory Panel 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19760" marR="0" lvl="1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1 of 54 Commonwealth nations represented (98.5% of the Commonwealth Population)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imes New Roman"/>
            </a:endParaRPr>
          </a:p>
          <a:p>
            <a:pPr marL="619760" marR="0" lvl="1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6 Regional Coordinators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imes New Roman"/>
            </a:endParaRPr>
          </a:p>
          <a:p>
            <a:pPr marL="619760" marR="0" lvl="1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/>
              </a:rPr>
              <a:t>12 Supporting Organisations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imes New Roman"/>
            </a:endParaRPr>
          </a:p>
          <a:p>
            <a:pPr marL="0" marR="0" lvl="0" indent="-18034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0065C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-18034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65C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bpag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</a:endParaRPr>
          </a:p>
          <a:p>
            <a:pPr marL="16256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,Sans-Serif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/>
              </a:rPr>
              <a:t>www.odt.nhs.uk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6256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imes New Roman"/>
            </a:endParaRPr>
          </a:p>
        </p:txBody>
      </p:sp>
      <p:pic>
        <p:nvPicPr>
          <p:cNvPr id="8" name="Picture 8" descr="A picture containing application&#10;&#10;Description automatically generated">
            <a:extLst>
              <a:ext uri="{FF2B5EF4-FFF2-40B4-BE49-F238E27FC236}">
                <a16:creationId xmlns:a16="http://schemas.microsoft.com/office/drawing/2014/main" id="{F4FE78AE-E83F-4030-80C7-4298177DE9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69200" y="1008519"/>
            <a:ext cx="3911600" cy="542008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414F9A0-CC74-410C-9BCD-FAEB94496AF8}"/>
              </a:ext>
            </a:extLst>
          </p:cNvPr>
          <p:cNvSpPr txBox="1"/>
          <p:nvPr/>
        </p:nvSpPr>
        <p:spPr>
          <a:xfrm>
            <a:off x="4867275" y="1900555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1A476AF3-C2CA-A844-B28F-4426C8CA77C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9"/>
          <a:stretch/>
        </p:blipFill>
        <p:spPr>
          <a:xfrm>
            <a:off x="2905729" y="4040667"/>
            <a:ext cx="4247425" cy="2387933"/>
          </a:xfrm>
          <a:prstGeom prst="rect">
            <a:avLst/>
          </a:prstGeom>
        </p:spPr>
      </p:pic>
      <p:pic>
        <p:nvPicPr>
          <p:cNvPr id="3" name="Picture 2" descr="Graphical user interface, application, website&#10;&#10;Description automatically generated">
            <a:extLst>
              <a:ext uri="{FF2B5EF4-FFF2-40B4-BE49-F238E27FC236}">
                <a16:creationId xmlns:a16="http://schemas.microsoft.com/office/drawing/2014/main" id="{0DF3AAF6-8BAA-1A47-A80F-BFEF2A9194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31674" y="3099047"/>
            <a:ext cx="2621480" cy="1111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5081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BF4DB0-07D1-4FBE-9AFD-A4554D500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emorandum of Understanding</a:t>
            </a:r>
          </a:p>
        </p:txBody>
      </p:sp>
      <p:pic>
        <p:nvPicPr>
          <p:cNvPr id="14" name="Picture 13" descr="A picture containing text&#10;&#10;Description automatically generated">
            <a:extLst>
              <a:ext uri="{FF2B5EF4-FFF2-40B4-BE49-F238E27FC236}">
                <a16:creationId xmlns:a16="http://schemas.microsoft.com/office/drawing/2014/main" id="{623B3079-A237-614E-9083-FDE4368FC3A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9"/>
          <a:stretch/>
        </p:blipFill>
        <p:spPr>
          <a:xfrm>
            <a:off x="10576848" y="0"/>
            <a:ext cx="1615152" cy="908050"/>
          </a:xfrm>
          <a:prstGeom prst="rect">
            <a:avLst/>
          </a:prstGeom>
        </p:spPr>
      </p:pic>
      <p:pic>
        <p:nvPicPr>
          <p:cNvPr id="17" name="Picture 1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98E48DE7-8BA9-2D47-A1D8-F1A6890C74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" y="1363672"/>
            <a:ext cx="6604000" cy="4597400"/>
          </a:xfrm>
          <a:prstGeom prst="rect">
            <a:avLst/>
          </a:prstGeom>
          <a:ln w="127000" cap="rnd">
            <a:solidFill>
              <a:srgbClr val="FFFFFF"/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15" name="Picture 14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4A67EC4E-1A89-6D4D-9FB7-1DE3CB40FE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41037" y="4406026"/>
            <a:ext cx="3652093" cy="123684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29720E5-79EC-284E-A6E8-549748D0EA37}"/>
              </a:ext>
            </a:extLst>
          </p:cNvPr>
          <p:cNvSpPr txBox="1"/>
          <p:nvPr/>
        </p:nvSpPr>
        <p:spPr>
          <a:xfrm>
            <a:off x="7917871" y="3932890"/>
            <a:ext cx="390768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65C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gnatures received from 34 of 41 Commonwealth representativ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2000" b="1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3D2DBA4-028B-F547-A834-D04DA266920D}"/>
              </a:ext>
            </a:extLst>
          </p:cNvPr>
          <p:cNvSpPr txBox="1"/>
          <p:nvPr/>
        </p:nvSpPr>
        <p:spPr>
          <a:xfrm>
            <a:off x="7529203" y="1228876"/>
            <a:ext cx="4431663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GB" sz="1800" b="1" dirty="0">
                <a:solidFill>
                  <a:srgbClr val="0065CC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tatement of Purpose in MOU</a:t>
            </a:r>
          </a:p>
          <a:p>
            <a:pPr algn="just"/>
            <a:r>
              <a:rPr lang="en-GB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hrough the sharing of knowledge and expertise we will increase ethical organ and tissue donation and transplantation, regardless of transplant infra-structure, for the benefit of all Commonwealth citizens.</a:t>
            </a:r>
            <a:r>
              <a:rPr lang="en-AU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endParaRPr lang="en-GB" sz="12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46214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9A82843-6DAB-AC4C-84EA-2C556601B1B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3139" y="1365814"/>
            <a:ext cx="3462487" cy="230832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4BF4DB0-07D1-4FBE-9AFD-A4554D500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efits UK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3788583-234F-D340-8AEF-B0FC08401877}"/>
              </a:ext>
            </a:extLst>
          </p:cNvPr>
          <p:cNvSpPr txBox="1"/>
          <p:nvPr/>
        </p:nvSpPr>
        <p:spPr>
          <a:xfrm>
            <a:off x="3123326" y="1547873"/>
            <a:ext cx="5945345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MS ??"/>
                <a:cs typeface="Times New Roman" panose="02020603050405020304" pitchFamily="18" charset="0"/>
              </a:rPr>
              <a:t>Leverage the 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MS ??"/>
                <a:cs typeface="Times New Roman" panose="02020603050405020304" pitchFamily="18" charset="0"/>
              </a:rPr>
              <a:t>t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ransformational value of sport and the Commonwealth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MS ??"/>
                <a:cs typeface="Times New Roman" panose="02020603050405020304" pitchFamily="18" charset="0"/>
              </a:rPr>
              <a:t>Games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 as a catalyst for improving health and leading social change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785CF3-1BDC-B44F-A041-1ED7E954B843}"/>
              </a:ext>
            </a:extLst>
          </p:cNvPr>
          <p:cNvSpPr txBox="1"/>
          <p:nvPr/>
        </p:nvSpPr>
        <p:spPr>
          <a:xfrm>
            <a:off x="405198" y="4010958"/>
            <a:ext cx="11458853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itchFamily="2" charset="2"/>
              <a:buChar char="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Expand and deepen efforts to encourage organ donation in diverse UK communities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itchFamily="2" charset="2"/>
              <a:buChar char="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MS ??"/>
                <a:cs typeface="Times New Roman" panose="02020603050405020304" pitchFamily="18" charset="0"/>
              </a:rPr>
              <a:t>Recognise Birmingham City Council's contribution to organ donation and Birmingham’s place as one of the world’s biggest transplant centres. </a:t>
            </a:r>
          </a:p>
          <a:p>
            <a:pPr marL="342900" marR="0" lvl="0" indent="-342900" algn="just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itchFamily="2" charset="2"/>
              <a:buChar char="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Showcase the UK as world leading in addressing the issues of health care inequality in organ and tissue donation and transplantation.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4E33F82-6528-474A-8A7B-27321471CB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125240"/>
            <a:ext cx="2111784" cy="2668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1334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BF4DB0-07D1-4FBE-9AFD-A4554D500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efits Commonwealth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3788583-234F-D340-8AEF-B0FC08401877}"/>
              </a:ext>
            </a:extLst>
          </p:cNvPr>
          <p:cNvSpPr txBox="1"/>
          <p:nvPr/>
        </p:nvSpPr>
        <p:spPr>
          <a:xfrm>
            <a:off x="4587617" y="1490008"/>
            <a:ext cx="721856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buFont typeface="Symbol" pitchFamily="2" charset="2"/>
              <a:buChar char=""/>
            </a:pPr>
            <a:r>
              <a:rPr lang="en-US" sz="240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MS ??"/>
                <a:cs typeface="Times New Roman" panose="02020603050405020304" pitchFamily="18" charset="0"/>
              </a:rPr>
              <a:t>Connect a community of donation and transplantation healthcare experts.</a:t>
            </a:r>
            <a:endParaRPr lang="en-GB" sz="2800" dirty="0">
              <a:effectLst/>
              <a:latin typeface="Cambria" panose="02040503050406030204" pitchFamily="18" charset="0"/>
              <a:ea typeface="MS ??"/>
              <a:cs typeface="Times New Roman" panose="02020603050405020304" pitchFamily="18" charset="0"/>
            </a:endParaRPr>
          </a:p>
          <a:p>
            <a:pPr marL="342900" lvl="0" indent="-342900" algn="just" fontAlgn="base">
              <a:buFont typeface="Symbol" pitchFamily="2" charset="2"/>
              <a:buChar char=""/>
            </a:pPr>
            <a:r>
              <a:rPr lang="en-GB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xpand on existing successful programmes.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 algn="just" fontAlgn="base">
              <a:buFont typeface="Symbol" pitchFamily="2" charset="2"/>
              <a:buChar char=""/>
            </a:pPr>
            <a:r>
              <a:rPr lang="en-GB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hare guidelines, protocols, teaching materials, mentorship and training.  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A9FC36-3C50-BF45-A272-995364A248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1" y="1351930"/>
            <a:ext cx="4483216" cy="228003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3785CF3-1BDC-B44F-A041-1ED7E954B843}"/>
              </a:ext>
            </a:extLst>
          </p:cNvPr>
          <p:cNvSpPr txBox="1"/>
          <p:nvPr/>
        </p:nvSpPr>
        <p:spPr>
          <a:xfrm>
            <a:off x="405198" y="4010958"/>
            <a:ext cx="11381603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buFont typeface="Symbol" pitchFamily="2" charset="2"/>
              <a:buChar char=""/>
            </a:pPr>
            <a:r>
              <a:rPr lang="en-GB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upport progress in increasing organ transplantation.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 algn="just" fontAlgn="base">
              <a:buFont typeface="Symbol" pitchFamily="2" charset="2"/>
              <a:buChar char=""/>
            </a:pPr>
            <a:r>
              <a:rPr lang="en-GB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Provide an opportunity to showcase innovation in organ donation. 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 algn="just" fontAlgn="base">
              <a:buFont typeface="Symbol" pitchFamily="2" charset="2"/>
              <a:buChar char=""/>
            </a:pPr>
            <a:r>
              <a:rPr lang="en-GB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Protect vulnerable Commonwealth citizens against illegal and unethical transplantation.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 algn="just" fontAlgn="base">
              <a:spcAft>
                <a:spcPts val="500"/>
              </a:spcAft>
              <a:buFont typeface="Symbol" pitchFamily="2" charset="2"/>
              <a:buChar char=""/>
            </a:pPr>
            <a:r>
              <a:rPr lang="en-GB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ave and transform the lives of patients in need of transplantation.</a:t>
            </a:r>
            <a:endParaRPr lang="en-GB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37757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>
            <a:extLst>
              <a:ext uri="{FF2B5EF4-FFF2-40B4-BE49-F238E27FC236}">
                <a16:creationId xmlns:a16="http://schemas.microsoft.com/office/drawing/2014/main" id="{CD95D21A-F89B-4149-A17D-D5908E78DC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n-GB" sz="4800" dirty="0"/>
              <a:t>Key dates and events</a:t>
            </a:r>
            <a:endParaRPr lang="en-GB" altLang="en-US" sz="5400" dirty="0">
              <a:solidFill>
                <a:srgbClr val="6E2C6B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414F9A0-CC74-410C-9BCD-FAEB94496AF8}"/>
              </a:ext>
            </a:extLst>
          </p:cNvPr>
          <p:cNvSpPr txBox="1"/>
          <p:nvPr/>
        </p:nvSpPr>
        <p:spPr>
          <a:xfrm>
            <a:off x="4867275" y="1900555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AutoShape 5">
            <a:extLst>
              <a:ext uri="{FF2B5EF4-FFF2-40B4-BE49-F238E27FC236}">
                <a16:creationId xmlns:a16="http://schemas.microsoft.com/office/drawing/2014/main" id="{CDA475FC-C343-6D43-B120-3EA51B5342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186" y="1778688"/>
            <a:ext cx="2853402" cy="1462095"/>
          </a:xfrm>
          <a:prstGeom prst="roundRect">
            <a:avLst>
              <a:gd name="adj" fmla="val 16667"/>
            </a:avLst>
          </a:prstGeom>
          <a:solidFill>
            <a:srgbClr val="6BAB4A"/>
          </a:solidFill>
          <a:ln w="9525">
            <a:noFill/>
            <a:round/>
            <a:headEnd/>
            <a:tailEnd/>
          </a:ln>
          <a:scene3d>
            <a:camera prst="legacyObliqueTopLeft"/>
            <a:lightRig rig="legacyFlat3" dir="t"/>
          </a:scene3d>
          <a:sp3d extrusionH="430200" prstMaterial="legacyMatte">
            <a:bevelT w="13500" h="13500" prst="angle"/>
            <a:bevelB w="13500" h="13500" prst="angle"/>
            <a:extrusionClr>
              <a:srgbClr val="6BAB4A"/>
            </a:extrusionClr>
          </a:sp3d>
        </p:spPr>
        <p:txBody>
          <a:bodyPr lIns="91440" tIns="45720" rIns="91440" bIns="45720" anchor="ctr" anchorCtr="1">
            <a:flatTx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/>
                <a:cs typeface="Arial"/>
              </a:rPr>
              <a:t>Launch </a:t>
            </a:r>
          </a:p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/>
                <a:cs typeface="Arial"/>
              </a:rPr>
              <a:t>Event</a:t>
            </a:r>
          </a:p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/>
                <a:cs typeface="Arial"/>
              </a:rPr>
              <a:t>14 March 2022</a:t>
            </a:r>
            <a:endParaRPr kumimoji="0" lang="en-GB" sz="28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9" name="AutoShape 5">
            <a:extLst>
              <a:ext uri="{FF2B5EF4-FFF2-40B4-BE49-F238E27FC236}">
                <a16:creationId xmlns:a16="http://schemas.microsoft.com/office/drawing/2014/main" id="{A82D892B-DF8A-4F41-82A4-C6BBABCA8C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85066" y="1778683"/>
            <a:ext cx="2853402" cy="1462095"/>
          </a:xfrm>
          <a:prstGeom prst="roundRect">
            <a:avLst>
              <a:gd name="adj" fmla="val 16667"/>
            </a:avLst>
          </a:prstGeom>
          <a:solidFill>
            <a:srgbClr val="0F6E96"/>
          </a:solidFill>
          <a:ln w="9525">
            <a:noFill/>
            <a:round/>
            <a:headEnd/>
            <a:tailEnd/>
          </a:ln>
          <a:scene3d>
            <a:camera prst="legacyObliqueTopLeft"/>
            <a:lightRig rig="legacyFlat3" dir="t"/>
          </a:scene3d>
          <a:sp3d extrusionH="430200" prstMaterial="legacyMatte">
            <a:bevelT w="13500" h="13500" prst="angle"/>
            <a:bevelB w="13500" h="13500" prst="angle"/>
            <a:extrusionClr>
              <a:srgbClr val="0F6E96"/>
            </a:extrusionClr>
          </a:sp3d>
        </p:spPr>
        <p:txBody>
          <a:bodyPr lIns="91440" tIns="45720" rIns="91440" bIns="45720" anchor="ctr" anchorCtr="1">
            <a:flatTx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/>
                <a:cs typeface="Arial"/>
              </a:rPr>
              <a:t>Inaugural Ceremony</a:t>
            </a:r>
          </a:p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/>
                <a:cs typeface="Arial"/>
              </a:rPr>
              <a:t>22 July 2022</a:t>
            </a:r>
            <a:endParaRPr kumimoji="0" lang="en-GB" sz="28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0F2787F-7591-1147-B82F-7AA65640C8CC}"/>
              </a:ext>
            </a:extLst>
          </p:cNvPr>
          <p:cNvSpPr txBox="1"/>
          <p:nvPr/>
        </p:nvSpPr>
        <p:spPr>
          <a:xfrm>
            <a:off x="3882044" y="1325476"/>
            <a:ext cx="4500562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ies of Commonwealth wide webinars</a:t>
            </a:r>
          </a:p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896155-4351-4C48-BA0A-77A921988F0B}"/>
              </a:ext>
            </a:extLst>
          </p:cNvPr>
          <p:cNvSpPr txBox="1"/>
          <p:nvPr/>
        </p:nvSpPr>
        <p:spPr>
          <a:xfrm>
            <a:off x="3882044" y="2721938"/>
            <a:ext cx="4369596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cal / regional organised activities across the Commonwealth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E5DCD2E-2984-0A40-88A9-587E46B6046B}"/>
              </a:ext>
            </a:extLst>
          </p:cNvPr>
          <p:cNvSpPr txBox="1"/>
          <p:nvPr/>
        </p:nvSpPr>
        <p:spPr>
          <a:xfrm>
            <a:off x="8854095" y="3499058"/>
            <a:ext cx="3115344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ficial MOU Start Da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ek before Games </a:t>
            </a:r>
          </a:p>
          <a:p>
            <a:pPr algn="ctr">
              <a:defRPr/>
            </a:pPr>
            <a:r>
              <a:rPr lang="en-GB" sz="2000" dirty="0">
                <a:solidFill>
                  <a:prstClr val="black"/>
                </a:solidFill>
                <a:latin typeface="Calibri" panose="020F0502020204030204"/>
              </a:rPr>
              <a:t>VIP Event</a:t>
            </a:r>
          </a:p>
          <a:p>
            <a:pPr algn="ctr">
              <a:defRPr/>
            </a:pPr>
            <a:r>
              <a:rPr lang="en-GB" sz="2000" dirty="0">
                <a:solidFill>
                  <a:prstClr val="black"/>
                </a:solidFill>
                <a:latin typeface="Calibri" panose="020F0502020204030204"/>
              </a:rPr>
              <a:t>Hybrid Event, stream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gbaston Cricket Groun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profile supporters / champio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ysical presence around the Gam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45FCD56-F82A-1D44-BB1C-15ABFC9FB6D4}"/>
              </a:ext>
            </a:extLst>
          </p:cNvPr>
          <p:cNvSpPr txBox="1"/>
          <p:nvPr/>
        </p:nvSpPr>
        <p:spPr>
          <a:xfrm>
            <a:off x="0" y="3499058"/>
            <a:ext cx="3705773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l Project Launch Commonwealth Da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P Eve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ybrid Event, stream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dirty="0">
                <a:solidFill>
                  <a:prstClr val="black"/>
                </a:solidFill>
                <a:latin typeface="Calibri" panose="020F0502020204030204"/>
              </a:rPr>
              <a:t>Grand Station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olverhampt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onwealth Day become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 Annual Project Event</a:t>
            </a:r>
          </a:p>
        </p:txBody>
      </p:sp>
      <p:pic>
        <p:nvPicPr>
          <p:cNvPr id="15" name="Picture 14" descr="A picture containing text&#10;&#10;Description automatically generated">
            <a:extLst>
              <a:ext uri="{FF2B5EF4-FFF2-40B4-BE49-F238E27FC236}">
                <a16:creationId xmlns:a16="http://schemas.microsoft.com/office/drawing/2014/main" id="{4A4AE5D0-6E48-9F4C-B9C4-3E57E104C76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"/>
          <a:stretch/>
        </p:blipFill>
        <p:spPr>
          <a:xfrm>
            <a:off x="4371554" y="4491704"/>
            <a:ext cx="3448892" cy="1938992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47E2879-42CC-7043-AEED-4200556E98C3}"/>
              </a:ext>
            </a:extLst>
          </p:cNvPr>
          <p:cNvCxnSpPr/>
          <p:nvPr/>
        </p:nvCxnSpPr>
        <p:spPr>
          <a:xfrm>
            <a:off x="3845718" y="2510694"/>
            <a:ext cx="4500563" cy="0"/>
          </a:xfrm>
          <a:prstGeom prst="line">
            <a:avLst/>
          </a:prstGeom>
          <a:ln w="114300">
            <a:solidFill>
              <a:srgbClr val="3366B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25768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>
            <a:extLst>
              <a:ext uri="{FF2B5EF4-FFF2-40B4-BE49-F238E27FC236}">
                <a16:creationId xmlns:a16="http://schemas.microsoft.com/office/drawing/2014/main" id="{CD95D21A-F89B-4149-A17D-D5908E78DC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930" y="229570"/>
            <a:ext cx="11435416" cy="633412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GB" sz="4800" dirty="0"/>
              <a:t>March to July 2022 </a:t>
            </a:r>
            <a:r>
              <a:rPr lang="en-GB" sz="4000" dirty="0"/>
              <a:t>– series of weekly webinars</a:t>
            </a:r>
            <a:endParaRPr lang="en-GB" altLang="en-US" sz="5400" dirty="0">
              <a:solidFill>
                <a:srgbClr val="6E2C6B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414F9A0-CC74-410C-9BCD-FAEB94496AF8}"/>
              </a:ext>
            </a:extLst>
          </p:cNvPr>
          <p:cNvSpPr txBox="1"/>
          <p:nvPr/>
        </p:nvSpPr>
        <p:spPr>
          <a:xfrm>
            <a:off x="4867275" y="1900555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Picture 14" descr="A picture containing text&#10;&#10;Description automatically generated">
            <a:extLst>
              <a:ext uri="{FF2B5EF4-FFF2-40B4-BE49-F238E27FC236}">
                <a16:creationId xmlns:a16="http://schemas.microsoft.com/office/drawing/2014/main" id="{4A4AE5D0-6E48-9F4C-B9C4-3E57E104C76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"/>
          <a:stretch/>
        </p:blipFill>
        <p:spPr>
          <a:xfrm>
            <a:off x="8743108" y="4480129"/>
            <a:ext cx="3448892" cy="1938992"/>
          </a:xfrm>
          <a:prstGeom prst="rect">
            <a:avLst/>
          </a:prstGeom>
        </p:spPr>
      </p:pic>
      <p:sp>
        <p:nvSpPr>
          <p:cNvPr id="17" name="AutoShape 5">
            <a:extLst>
              <a:ext uri="{FF2B5EF4-FFF2-40B4-BE49-F238E27FC236}">
                <a16:creationId xmlns:a16="http://schemas.microsoft.com/office/drawing/2014/main" id="{7AA872A6-BA09-3341-92DC-EAAD75B263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9860" y="1469598"/>
            <a:ext cx="2639090" cy="845411"/>
          </a:xfrm>
          <a:prstGeom prst="roundRect">
            <a:avLst>
              <a:gd name="adj" fmla="val 16667"/>
            </a:avLst>
          </a:prstGeom>
          <a:solidFill>
            <a:srgbClr val="6BAB4A"/>
          </a:solidFill>
          <a:ln w="9525">
            <a:noFill/>
            <a:round/>
            <a:headEnd/>
            <a:tailEnd/>
          </a:ln>
          <a:scene3d>
            <a:camera prst="legacyObliqueTopLeft"/>
            <a:lightRig rig="legacyFlat3" dir="t"/>
          </a:scene3d>
          <a:sp3d extrusionH="430200" prstMaterial="legacyMatte">
            <a:bevelT w="13500" h="13500" prst="angle"/>
            <a:bevelB w="13500" h="13500" prst="angle"/>
            <a:extrusionClr>
              <a:srgbClr val="6BAB4A"/>
            </a:extrusionClr>
          </a:sp3d>
        </p:spPr>
        <p:txBody>
          <a:bodyPr lIns="91440" tIns="45720" rIns="91440" bIns="45720" anchor="ctr" anchorCtr="1">
            <a:flatTx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/>
                <a:cs typeface="Arial"/>
              </a:rPr>
              <a:t>Donation</a:t>
            </a:r>
            <a:endParaRPr kumimoji="0" lang="en-GB" sz="28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BFEA841-CDC4-9B49-8B72-AE990FDE79C0}"/>
              </a:ext>
            </a:extLst>
          </p:cNvPr>
          <p:cNvSpPr txBox="1"/>
          <p:nvPr/>
        </p:nvSpPr>
        <p:spPr>
          <a:xfrm>
            <a:off x="3845718" y="1109751"/>
            <a:ext cx="731282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0598AB2-E3A5-354A-BB7F-250B8028F391}"/>
              </a:ext>
            </a:extLst>
          </p:cNvPr>
          <p:cNvSpPr txBox="1"/>
          <p:nvPr/>
        </p:nvSpPr>
        <p:spPr>
          <a:xfrm>
            <a:off x="194930" y="2496278"/>
            <a:ext cx="3028950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nging donation culture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ing Death 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le of donation nurses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t Out Legislation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venting unethical donation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ucation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2000" dirty="0">
                <a:solidFill>
                  <a:prstClr val="black"/>
                </a:solidFill>
                <a:latin typeface="Calibri" panose="020F0502020204030204"/>
              </a:rPr>
              <a:t>Donation physicians / clinical leads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AutoShape 5">
            <a:extLst>
              <a:ext uri="{FF2B5EF4-FFF2-40B4-BE49-F238E27FC236}">
                <a16:creationId xmlns:a16="http://schemas.microsoft.com/office/drawing/2014/main" id="{AE55DF8D-E0AA-8F4C-9E3E-ED15DFEFD6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91425" y="1469598"/>
            <a:ext cx="2639090" cy="845411"/>
          </a:xfrm>
          <a:prstGeom prst="roundRect">
            <a:avLst>
              <a:gd name="adj" fmla="val 16667"/>
            </a:avLst>
          </a:prstGeom>
          <a:solidFill>
            <a:srgbClr val="B04078"/>
          </a:solidFill>
          <a:ln w="9525">
            <a:noFill/>
            <a:round/>
            <a:headEnd/>
            <a:tailEnd/>
          </a:ln>
          <a:scene3d>
            <a:camera prst="legacyObliqueTopLeft"/>
            <a:lightRig rig="legacyFlat3" dir="t"/>
          </a:scene3d>
          <a:sp3d extrusionH="430200" prstMaterial="legacyMatte">
            <a:bevelT w="13500" h="13500" prst="angle"/>
            <a:bevelB w="13500" h="13500" prst="angle"/>
            <a:extrusionClr>
              <a:srgbClr val="B04078"/>
            </a:extrusionClr>
          </a:sp3d>
        </p:spPr>
        <p:txBody>
          <a:bodyPr lIns="91440" tIns="45720" rIns="91440" bIns="45720" anchor="ctr" anchorCtr="1">
            <a:flatTx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/>
                <a:cs typeface="Arial"/>
              </a:rPr>
              <a:t>Transplantation</a:t>
            </a:r>
            <a:endParaRPr kumimoji="0" lang="en-GB" sz="24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21" name="AutoShape 5">
            <a:extLst>
              <a:ext uri="{FF2B5EF4-FFF2-40B4-BE49-F238E27FC236}">
                <a16:creationId xmlns:a16="http://schemas.microsoft.com/office/drawing/2014/main" id="{7D45CE23-26AD-A949-A8A4-2274333A1A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12932" y="1478563"/>
            <a:ext cx="2639090" cy="845411"/>
          </a:xfrm>
          <a:prstGeom prst="roundRect">
            <a:avLst>
              <a:gd name="adj" fmla="val 16667"/>
            </a:avLst>
          </a:prstGeom>
          <a:solidFill>
            <a:srgbClr val="3366BF"/>
          </a:solidFill>
          <a:ln w="9525">
            <a:noFill/>
            <a:round/>
            <a:headEnd/>
            <a:tailEnd/>
          </a:ln>
          <a:scene3d>
            <a:camera prst="legacyObliqueTopLeft"/>
            <a:lightRig rig="legacyFlat3" dir="t"/>
          </a:scene3d>
          <a:sp3d extrusionH="430200" prstMaterial="legacyMatte">
            <a:bevelT w="13500" h="13500" prst="angle"/>
            <a:bevelB w="13500" h="13500" prst="angle"/>
            <a:extrusionClr>
              <a:srgbClr val="3366BF"/>
            </a:extrusionClr>
          </a:sp3d>
        </p:spPr>
        <p:txBody>
          <a:bodyPr lIns="91440" tIns="45720" rIns="91440" bIns="45720" anchor="ctr" anchorCtr="1">
            <a:flatTx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/>
                <a:cs typeface="Arial"/>
              </a:rPr>
              <a:t>Promotion</a:t>
            </a:r>
            <a:endParaRPr kumimoji="0" lang="en-GB" sz="28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8748705-FFA1-2949-BE07-2E023C4F3284}"/>
              </a:ext>
            </a:extLst>
          </p:cNvPr>
          <p:cNvSpPr txBox="1"/>
          <p:nvPr/>
        </p:nvSpPr>
        <p:spPr>
          <a:xfrm>
            <a:off x="3223880" y="2496278"/>
            <a:ext cx="302895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  <a:defRPr/>
            </a:pPr>
            <a:r>
              <a:rPr lang="en-GB" sz="2000" dirty="0">
                <a:solidFill>
                  <a:prstClr val="black"/>
                </a:solidFill>
                <a:latin typeface="Calibri" panose="020F0502020204030204"/>
              </a:rPr>
              <a:t>Starting from zero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ving liver transplant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dirty="0">
                <a:solidFill>
                  <a:prstClr val="black"/>
                </a:solidFill>
                <a:latin typeface="Calibri" panose="020F0502020204030204"/>
              </a:rPr>
              <a:t>Living kidney transplant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dirty="0">
                <a:solidFill>
                  <a:prstClr val="black"/>
                </a:solidFill>
                <a:latin typeface="Calibri" panose="020F0502020204030204"/>
              </a:rPr>
              <a:t>Immunology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dirty="0">
                <a:solidFill>
                  <a:prstClr val="black"/>
                </a:solidFill>
                <a:latin typeface="Calibri" panose="020F0502020204030204"/>
              </a:rPr>
              <a:t>Transplant registri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BD73587-42DF-964F-9A05-FAA6C325699F}"/>
              </a:ext>
            </a:extLst>
          </p:cNvPr>
          <p:cNvSpPr txBox="1"/>
          <p:nvPr/>
        </p:nvSpPr>
        <p:spPr>
          <a:xfrm>
            <a:off x="6252830" y="2496278"/>
            <a:ext cx="302895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tional Campaigns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onal Campaigns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nouring deceased donors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GB" sz="2000" dirty="0">
                <a:solidFill>
                  <a:prstClr val="black"/>
                </a:solidFill>
                <a:latin typeface="Calibri" panose="020F0502020204030204"/>
              </a:rPr>
              <a:t>Community engagement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2000" dirty="0">
                <a:solidFill>
                  <a:prstClr val="black"/>
                </a:solidFill>
                <a:latin typeface="Calibri" panose="020F0502020204030204"/>
              </a:rPr>
              <a:t>Social media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plant Spor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736640E-4AEF-8E47-BDB2-E65980A01A4E}"/>
              </a:ext>
            </a:extLst>
          </p:cNvPr>
          <p:cNvSpPr txBox="1"/>
          <p:nvPr/>
        </p:nvSpPr>
        <p:spPr>
          <a:xfrm>
            <a:off x="9281780" y="2569275"/>
            <a:ext cx="271529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rneal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2000" dirty="0">
                <a:solidFill>
                  <a:prstClr val="black"/>
                </a:solidFill>
                <a:latin typeface="Calibri" panose="020F0502020204030204"/>
              </a:rPr>
              <a:t>Skin banking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AutoShape 5">
            <a:extLst>
              <a:ext uri="{FF2B5EF4-FFF2-40B4-BE49-F238E27FC236}">
                <a16:creationId xmlns:a16="http://schemas.microsoft.com/office/drawing/2014/main" id="{577C215A-86D2-8849-90A0-80F8385522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60902" y="1470381"/>
            <a:ext cx="2614404" cy="861774"/>
          </a:xfrm>
          <a:prstGeom prst="roundRect">
            <a:avLst>
              <a:gd name="adj" fmla="val 16667"/>
            </a:avLst>
          </a:prstGeom>
          <a:solidFill>
            <a:srgbClr val="0F6E96"/>
          </a:solidFill>
          <a:ln w="9525">
            <a:noFill/>
            <a:round/>
            <a:headEnd/>
            <a:tailEnd/>
          </a:ln>
          <a:scene3d>
            <a:camera prst="legacyObliqueTopLeft"/>
            <a:lightRig rig="legacyFlat3" dir="t"/>
          </a:scene3d>
          <a:sp3d extrusionH="430200" prstMaterial="legacyMatte">
            <a:bevelT w="13500" h="13500" prst="angle"/>
            <a:bevelB w="13500" h="13500" prst="angle"/>
            <a:extrusionClr>
              <a:srgbClr val="0F6E96"/>
            </a:extrusionClr>
          </a:sp3d>
        </p:spPr>
        <p:txBody>
          <a:bodyPr lIns="91440" tIns="45720" rIns="91440" bIns="45720" anchor="ctr" anchorCtr="1">
            <a:flatTx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/>
                <a:cs typeface="Arial"/>
              </a:rPr>
              <a:t>Tissues</a:t>
            </a:r>
            <a:endParaRPr kumimoji="0" lang="en-GB" sz="28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5340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B523D6-C0FA-459C-89C2-9F0D9516B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46174"/>
            <a:ext cx="9842856" cy="633377"/>
          </a:xfrm>
        </p:spPr>
        <p:txBody>
          <a:bodyPr/>
          <a:lstStyle/>
          <a:p>
            <a:r>
              <a:rPr lang="en-GB" dirty="0"/>
              <a:t>Proposed marketing activation</a:t>
            </a:r>
          </a:p>
        </p:txBody>
      </p:sp>
      <p:pic>
        <p:nvPicPr>
          <p:cNvPr id="12" name="Picture 11" descr="A picture containing text&#10;&#10;Description automatically generated">
            <a:extLst>
              <a:ext uri="{FF2B5EF4-FFF2-40B4-BE49-F238E27FC236}">
                <a16:creationId xmlns:a16="http://schemas.microsoft.com/office/drawing/2014/main" id="{6DFE4CF9-F3B7-4EC1-AB51-255A148B27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9875" y="102753"/>
            <a:ext cx="2166782" cy="793049"/>
          </a:xfrm>
          <a:prstGeom prst="rect">
            <a:avLst/>
          </a:prstGeom>
        </p:spPr>
      </p:pic>
      <p:graphicFrame>
        <p:nvGraphicFramePr>
          <p:cNvPr id="15" name="Content Placeholder 5">
            <a:extLst>
              <a:ext uri="{FF2B5EF4-FFF2-40B4-BE49-F238E27FC236}">
                <a16:creationId xmlns:a16="http://schemas.microsoft.com/office/drawing/2014/main" id="{F5AFC783-D2F6-471E-A6EF-C81812755BDD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52956" y="908050"/>
          <a:ext cx="109728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6" name="Picture 2">
            <a:extLst>
              <a:ext uri="{FF2B5EF4-FFF2-40B4-BE49-F238E27FC236}">
                <a16:creationId xmlns:a16="http://schemas.microsoft.com/office/drawing/2014/main" id="{55B72705-0E19-4838-8715-67C6BC7022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805" y="5001419"/>
            <a:ext cx="1981200" cy="1381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>
            <a:extLst>
              <a:ext uri="{FF2B5EF4-FFF2-40B4-BE49-F238E27FC236}">
                <a16:creationId xmlns:a16="http://schemas.microsoft.com/office/drawing/2014/main" id="{7B3377CD-F183-44BE-B548-441608DF49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7116" y="4806950"/>
            <a:ext cx="1133475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8">
            <a:extLst>
              <a:ext uri="{FF2B5EF4-FFF2-40B4-BE49-F238E27FC236}">
                <a16:creationId xmlns:a16="http://schemas.microsoft.com/office/drawing/2014/main" id="{A0976EA4-9C03-4C1E-B56A-72DEFFB6EF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2646" y="4806950"/>
            <a:ext cx="1371600" cy="137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D799448-DF2B-41AE-BFF9-F056C4C0EAD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01870" y="4754383"/>
            <a:ext cx="1537486" cy="1476976"/>
          </a:xfrm>
          <a:prstGeom prst="rect">
            <a:avLst/>
          </a:prstGeom>
        </p:spPr>
      </p:pic>
      <p:pic>
        <p:nvPicPr>
          <p:cNvPr id="20" name="Picture 10">
            <a:extLst>
              <a:ext uri="{FF2B5EF4-FFF2-40B4-BE49-F238E27FC236}">
                <a16:creationId xmlns:a16="http://schemas.microsoft.com/office/drawing/2014/main" id="{3D03411D-4578-4370-9ED7-BE787B91AF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1573" y="3944144"/>
            <a:ext cx="1495425" cy="243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4">
            <a:extLst>
              <a:ext uri="{FF2B5EF4-FFF2-40B4-BE49-F238E27FC236}">
                <a16:creationId xmlns:a16="http://schemas.microsoft.com/office/drawing/2014/main" id="{6B989ACC-45B2-453F-B229-AC98FC900F5F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4760" y="4226797"/>
            <a:ext cx="1186831" cy="1265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58734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1XskarbEqDThPchPPNx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f66BG4qJFwlG1RnSxs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.lHlzYi02DdQrEzb.F_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f66BG4qJFwlG1RnSxs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1XskarbEqDThPchPPN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.lHlzYi02DdQrEzb.F_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1XskarbEqDThPchPPN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.lHlzYi02DdQrEzb.F_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Default Design">
  <a:themeElements>
    <a:clrScheme name="NHSBT Sep20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3399"/>
      </a:accent1>
      <a:accent2>
        <a:srgbClr val="009999"/>
      </a:accent2>
      <a:accent3>
        <a:srgbClr val="FF6699"/>
      </a:accent3>
      <a:accent4>
        <a:srgbClr val="2D2D8A"/>
      </a:accent4>
      <a:accent5>
        <a:srgbClr val="DAEDEF"/>
      </a:accent5>
      <a:accent6>
        <a:srgbClr val="7030A0"/>
      </a:accent6>
      <a:hlink>
        <a:srgbClr val="FFC000"/>
      </a:hlink>
      <a:folHlink>
        <a:srgbClr val="99CC00"/>
      </a:folHlink>
    </a:clrScheme>
    <a:fontScheme name="2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65CC"/>
        </a:solidFill>
        <a:ln w="9525">
          <a:solidFill>
            <a:srgbClr val="0091C9"/>
          </a:solidFill>
          <a:round/>
          <a:headEnd type="none" w="sm" len="sm"/>
          <a:tailEnd type="none" w="sm" len="sm"/>
        </a:ln>
      </a:spPr>
      <a:bodyPr lIns="91425" tIns="91425" rIns="91425" bIns="91425" anchor="ctr"/>
      <a:lstStyle>
        <a:defPPr algn="ctr">
          <a:lnSpc>
            <a:spcPct val="90000"/>
          </a:lnSpc>
          <a:buClr>
            <a:srgbClr val="000000"/>
          </a:buClr>
          <a:buSzPts val="1100"/>
          <a:defRPr dirty="0">
            <a:solidFill>
              <a:srgbClr val="FFFFFF"/>
            </a:solidFill>
            <a:latin typeface="Nunito"/>
            <a:ea typeface="Nunito"/>
            <a:cs typeface="Nunito"/>
            <a:sym typeface="Nunito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4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2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Default Design">
  <a:themeElements>
    <a:clrScheme name="NHSBT Sep20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3399"/>
      </a:accent1>
      <a:accent2>
        <a:srgbClr val="009999"/>
      </a:accent2>
      <a:accent3>
        <a:srgbClr val="FF6699"/>
      </a:accent3>
      <a:accent4>
        <a:srgbClr val="2D2D8A"/>
      </a:accent4>
      <a:accent5>
        <a:srgbClr val="DAEDEF"/>
      </a:accent5>
      <a:accent6>
        <a:srgbClr val="7030A0"/>
      </a:accent6>
      <a:hlink>
        <a:srgbClr val="FFC000"/>
      </a:hlink>
      <a:folHlink>
        <a:srgbClr val="99CC00"/>
      </a:folHlink>
    </a:clrScheme>
    <a:fontScheme name="2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65CC"/>
        </a:solidFill>
        <a:ln w="9525">
          <a:solidFill>
            <a:srgbClr val="0091C9"/>
          </a:solidFill>
          <a:round/>
          <a:headEnd type="none" w="sm" len="sm"/>
          <a:tailEnd type="none" w="sm" len="sm"/>
        </a:ln>
      </a:spPr>
      <a:bodyPr lIns="91425" tIns="91425" rIns="91425" bIns="91425" anchor="ctr"/>
      <a:lstStyle>
        <a:defPPr algn="ctr">
          <a:lnSpc>
            <a:spcPct val="90000"/>
          </a:lnSpc>
          <a:buClr>
            <a:srgbClr val="000000"/>
          </a:buClr>
          <a:buSzPts val="1100"/>
          <a:defRPr dirty="0">
            <a:solidFill>
              <a:srgbClr val="FFFFFF"/>
            </a:solidFill>
            <a:latin typeface="Nunito"/>
            <a:ea typeface="Nunito"/>
            <a:cs typeface="Nunito"/>
            <a:sym typeface="Nunito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4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2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Default Design">
  <a:themeElements>
    <a:clrScheme name="NHSBT Sep20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3399"/>
      </a:accent1>
      <a:accent2>
        <a:srgbClr val="009999"/>
      </a:accent2>
      <a:accent3>
        <a:srgbClr val="FF6699"/>
      </a:accent3>
      <a:accent4>
        <a:srgbClr val="2D2D8A"/>
      </a:accent4>
      <a:accent5>
        <a:srgbClr val="DAEDEF"/>
      </a:accent5>
      <a:accent6>
        <a:srgbClr val="7030A0"/>
      </a:accent6>
      <a:hlink>
        <a:srgbClr val="FFC000"/>
      </a:hlink>
      <a:folHlink>
        <a:srgbClr val="99CC00"/>
      </a:folHlink>
    </a:clrScheme>
    <a:fontScheme name="2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65CC"/>
        </a:solidFill>
        <a:ln w="9525">
          <a:solidFill>
            <a:srgbClr val="0091C9"/>
          </a:solidFill>
          <a:round/>
          <a:headEnd type="none" w="sm" len="sm"/>
          <a:tailEnd type="none" w="sm" len="sm"/>
        </a:ln>
      </a:spPr>
      <a:bodyPr lIns="91425" tIns="91425" rIns="91425" bIns="91425" anchor="ctr"/>
      <a:lstStyle>
        <a:defPPr algn="ctr">
          <a:lnSpc>
            <a:spcPct val="90000"/>
          </a:lnSpc>
          <a:buClr>
            <a:srgbClr val="000000"/>
          </a:buClr>
          <a:buSzPts val="1100"/>
          <a:defRPr dirty="0">
            <a:solidFill>
              <a:srgbClr val="FFFFFF"/>
            </a:solidFill>
            <a:latin typeface="Nunito"/>
            <a:ea typeface="Nunito"/>
            <a:cs typeface="Nunito"/>
            <a:sym typeface="Nunito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4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2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79</TotalTime>
  <Words>468</Words>
  <Application>Microsoft Macintosh PowerPoint</Application>
  <PresentationFormat>Widescreen</PresentationFormat>
  <Paragraphs>95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1" baseType="lpstr">
      <vt:lpstr>Arial</vt:lpstr>
      <vt:lpstr>Arial,Sans-Serif</vt:lpstr>
      <vt:lpstr>Calibri</vt:lpstr>
      <vt:lpstr>Calibri Light</vt:lpstr>
      <vt:lpstr>Cambria</vt:lpstr>
      <vt:lpstr>Symbol</vt:lpstr>
      <vt:lpstr>Times New Roman</vt:lpstr>
      <vt:lpstr>Office Theme</vt:lpstr>
      <vt:lpstr>3_Default Design</vt:lpstr>
      <vt:lpstr>2_Default Design</vt:lpstr>
      <vt:lpstr>4_Default Design</vt:lpstr>
      <vt:lpstr>think-cell Slide</vt:lpstr>
      <vt:lpstr>PowerPoint Presentation</vt:lpstr>
      <vt:lpstr>CTtL Promotional Video  https://youtu.be/C2PCCwuEI0o </vt:lpstr>
      <vt:lpstr>Background – our current progress</vt:lpstr>
      <vt:lpstr>Memorandum of Understanding</vt:lpstr>
      <vt:lpstr>Benefits UK</vt:lpstr>
      <vt:lpstr>Benefits Commonwealth</vt:lpstr>
      <vt:lpstr>Key dates and events</vt:lpstr>
      <vt:lpstr>March to July 2022 – series of weekly webinars</vt:lpstr>
      <vt:lpstr>Proposed marketing activ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series of webinars between the Launch and the Inauguration</dc:title>
  <dc:creator>Dale Gardiner</dc:creator>
  <cp:lastModifiedBy>Dale Gardiner</cp:lastModifiedBy>
  <cp:revision>39</cp:revision>
  <dcterms:created xsi:type="dcterms:W3CDTF">2021-09-24T12:34:58Z</dcterms:created>
  <dcterms:modified xsi:type="dcterms:W3CDTF">2022-02-08T11:25:46Z</dcterms:modified>
</cp:coreProperties>
</file>